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media/image18.jpg" ContentType="image/jpeg"/>
  <Override PartName="/ppt/media/image19.jpg" ContentType="image/jpeg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83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84" r:id="rId23"/>
    <p:sldId id="285" r:id="rId24"/>
    <p:sldId id="286" r:id="rId25"/>
    <p:sldId id="287" r:id="rId26"/>
    <p:sldId id="288" r:id="rId27"/>
    <p:sldId id="289" r:id="rId28"/>
    <p:sldId id="290" r:id="rId29"/>
    <p:sldId id="276" r:id="rId30"/>
    <p:sldId id="277" r:id="rId31"/>
    <p:sldId id="278" r:id="rId32"/>
    <p:sldId id="279" r:id="rId33"/>
    <p:sldId id="280" r:id="rId34"/>
    <p:sldId id="281" r:id="rId35"/>
    <p:sldId id="282" r:id="rId36"/>
  </p:sldIdLst>
  <p:sldSz cx="12192000" cy="6858000"/>
  <p:notesSz cx="12192000" cy="6858000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968" autoAdjust="0"/>
  </p:normalViewPr>
  <p:slideViewPr>
    <p:cSldViewPr>
      <p:cViewPr varScale="1">
        <p:scale>
          <a:sx n="122" d="100"/>
          <a:sy n="122" d="100"/>
        </p:scale>
        <p:origin x="114" y="336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gs" Target="tags/tag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42976" y="381076"/>
            <a:ext cx="11306047" cy="4521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3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rgbClr val="FF0004"/>
                </a:solidFill>
                <a:latin typeface="Ebrima"/>
                <a:cs typeface="Ebri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3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rgbClr val="FF0004"/>
                </a:solidFill>
                <a:latin typeface="Ebrima"/>
                <a:cs typeface="Ebri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762711" y="1507363"/>
            <a:ext cx="4302760" cy="411352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000" b="0" i="0">
                <a:solidFill>
                  <a:srgbClr val="FF0004"/>
                </a:solidFill>
                <a:latin typeface="Ebrima"/>
                <a:cs typeface="Ebrima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30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0" i="0">
                <a:solidFill>
                  <a:srgbClr val="FF0004"/>
                </a:solidFill>
                <a:latin typeface="Ebrima"/>
                <a:cs typeface="Ebri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30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30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xmlns="" id="{C4D97790-7279-64CB-DD99-6282E195B8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703340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9" imgW="383" imgH="384" progId="TCLayout.ActiveDocument.1">
                  <p:embed/>
                </p:oleObj>
              </mc:Choice>
              <mc:Fallback>
                <p:oleObj name="think-cell Slide" r:id="rId9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961644"/>
            <a:ext cx="12192000" cy="45720"/>
          </a:xfrm>
          <a:custGeom>
            <a:avLst/>
            <a:gdLst/>
            <a:ahLst/>
            <a:cxnLst/>
            <a:rect l="l" t="t" r="r" b="b"/>
            <a:pathLst>
              <a:path w="12192000" h="45719">
                <a:moveTo>
                  <a:pt x="12192000" y="0"/>
                </a:moveTo>
                <a:lnTo>
                  <a:pt x="0" y="0"/>
                </a:lnTo>
                <a:lnTo>
                  <a:pt x="0" y="45720"/>
                </a:lnTo>
                <a:lnTo>
                  <a:pt x="12192000" y="4572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F000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42976" y="395986"/>
            <a:ext cx="11306047" cy="45211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800" b="0" i="0">
                <a:solidFill>
                  <a:srgbClr val="FF0004"/>
                </a:solidFill>
                <a:latin typeface="Ebrima"/>
                <a:cs typeface="Ebrim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15467" y="1519818"/>
            <a:ext cx="9264015" cy="3238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30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068811" y="6465214"/>
            <a:ext cx="231775" cy="1778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rgbClr val="888888"/>
                </a:solidFill>
                <a:latin typeface="Calibri"/>
                <a:cs typeface="Calibri"/>
              </a:defRPr>
            </a:lvl1pPr>
          </a:lstStyle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8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intersig.al" TargetMode="Externa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556250" y="4626102"/>
            <a:ext cx="914400" cy="3308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000" b="1" spc="-5" dirty="0">
                <a:solidFill>
                  <a:srgbClr val="7E7E7E"/>
                </a:solidFill>
                <a:latin typeface="Ebrima"/>
                <a:cs typeface="Ebrima"/>
              </a:rPr>
              <a:t>Raporti</a:t>
            </a:r>
            <a:endParaRPr sz="2000">
              <a:latin typeface="Ebrima"/>
              <a:cs typeface="Ebrima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5649214" y="4900117"/>
            <a:ext cx="729615" cy="33147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2000" b="1" spc="-5" dirty="0">
                <a:solidFill>
                  <a:srgbClr val="7E7E7E"/>
                </a:solidFill>
                <a:latin typeface="Ebrima"/>
                <a:cs typeface="Ebrima"/>
              </a:rPr>
              <a:t>vjetor</a:t>
            </a:r>
            <a:endParaRPr sz="2000">
              <a:latin typeface="Ebrima"/>
              <a:cs typeface="Ebrima"/>
            </a:endParaRPr>
          </a:p>
        </p:txBody>
      </p:sp>
      <p:pic>
        <p:nvPicPr>
          <p:cNvPr id="4" name="object 4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596128" y="502919"/>
            <a:ext cx="1123187" cy="496824"/>
          </a:xfrm>
          <a:prstGeom prst="rect">
            <a:avLst/>
          </a:prstGeom>
        </p:spPr>
      </p:pic>
      <p:sp>
        <p:nvSpPr>
          <p:cNvPr id="5" name="object 5"/>
          <p:cNvSpPr/>
          <p:nvPr/>
        </p:nvSpPr>
        <p:spPr>
          <a:xfrm>
            <a:off x="3997931" y="2231138"/>
            <a:ext cx="4196715" cy="831850"/>
          </a:xfrm>
          <a:custGeom>
            <a:avLst/>
            <a:gdLst/>
            <a:ahLst/>
            <a:cxnLst/>
            <a:rect l="l" t="t" r="r" b="b"/>
            <a:pathLst>
              <a:path w="4196715" h="831850">
                <a:moveTo>
                  <a:pt x="4042311" y="0"/>
                </a:moveTo>
                <a:lnTo>
                  <a:pt x="3919335" y="0"/>
                </a:lnTo>
                <a:lnTo>
                  <a:pt x="3872028" y="8125"/>
                </a:lnTo>
                <a:lnTo>
                  <a:pt x="3825408" y="22496"/>
                </a:lnTo>
                <a:lnTo>
                  <a:pt x="3782349" y="42583"/>
                </a:lnTo>
                <a:lnTo>
                  <a:pt x="3742761" y="68371"/>
                </a:lnTo>
                <a:lnTo>
                  <a:pt x="3706550" y="99840"/>
                </a:lnTo>
                <a:lnTo>
                  <a:pt x="3675540" y="135467"/>
                </a:lnTo>
                <a:lnTo>
                  <a:pt x="3650200" y="173722"/>
                </a:lnTo>
                <a:lnTo>
                  <a:pt x="3630516" y="214671"/>
                </a:lnTo>
                <a:lnTo>
                  <a:pt x="3616473" y="258384"/>
                </a:lnTo>
                <a:lnTo>
                  <a:pt x="3608058" y="304927"/>
                </a:lnTo>
                <a:lnTo>
                  <a:pt x="3605256" y="354367"/>
                </a:lnTo>
                <a:lnTo>
                  <a:pt x="3607816" y="403901"/>
                </a:lnTo>
                <a:lnTo>
                  <a:pt x="3615497" y="450233"/>
                </a:lnTo>
                <a:lnTo>
                  <a:pt x="3628300" y="493364"/>
                </a:lnTo>
                <a:lnTo>
                  <a:pt x="3646228" y="533293"/>
                </a:lnTo>
                <a:lnTo>
                  <a:pt x="3669282" y="570021"/>
                </a:lnTo>
                <a:lnTo>
                  <a:pt x="3697463" y="603551"/>
                </a:lnTo>
                <a:lnTo>
                  <a:pt x="3730895" y="632635"/>
                </a:lnTo>
                <a:lnTo>
                  <a:pt x="3768388" y="656492"/>
                </a:lnTo>
                <a:lnTo>
                  <a:pt x="3809995" y="675094"/>
                </a:lnTo>
                <a:lnTo>
                  <a:pt x="3855766" y="688414"/>
                </a:lnTo>
                <a:lnTo>
                  <a:pt x="3905752" y="696426"/>
                </a:lnTo>
                <a:lnTo>
                  <a:pt x="3960007" y="699102"/>
                </a:lnTo>
                <a:lnTo>
                  <a:pt x="4016296" y="697497"/>
                </a:lnTo>
                <a:lnTo>
                  <a:pt x="4068266" y="692710"/>
                </a:lnTo>
                <a:lnTo>
                  <a:pt x="4115991" y="684789"/>
                </a:lnTo>
                <a:lnTo>
                  <a:pt x="4159546" y="673780"/>
                </a:lnTo>
                <a:lnTo>
                  <a:pt x="4196699" y="660550"/>
                </a:lnTo>
                <a:lnTo>
                  <a:pt x="4196699" y="577618"/>
                </a:lnTo>
                <a:lnTo>
                  <a:pt x="3972485" y="577618"/>
                </a:lnTo>
                <a:lnTo>
                  <a:pt x="3923910" y="573822"/>
                </a:lnTo>
                <a:lnTo>
                  <a:pt x="3881286" y="562373"/>
                </a:lnTo>
                <a:lnTo>
                  <a:pt x="3844780" y="543182"/>
                </a:lnTo>
                <a:lnTo>
                  <a:pt x="3814562" y="516159"/>
                </a:lnTo>
                <a:lnTo>
                  <a:pt x="3791035" y="482665"/>
                </a:lnTo>
                <a:lnTo>
                  <a:pt x="3774401" y="444863"/>
                </a:lnTo>
                <a:lnTo>
                  <a:pt x="3764522" y="402741"/>
                </a:lnTo>
                <a:lnTo>
                  <a:pt x="3761260" y="356287"/>
                </a:lnTo>
                <a:lnTo>
                  <a:pt x="3765291" y="305410"/>
                </a:lnTo>
                <a:lnTo>
                  <a:pt x="3777289" y="260071"/>
                </a:lnTo>
                <a:lnTo>
                  <a:pt x="3797109" y="220216"/>
                </a:lnTo>
                <a:lnTo>
                  <a:pt x="3824608" y="185791"/>
                </a:lnTo>
                <a:lnTo>
                  <a:pt x="3859126" y="158287"/>
                </a:lnTo>
                <a:lnTo>
                  <a:pt x="3897898" y="138464"/>
                </a:lnTo>
                <a:lnTo>
                  <a:pt x="3941073" y="126464"/>
                </a:lnTo>
                <a:lnTo>
                  <a:pt x="3988802" y="122432"/>
                </a:lnTo>
                <a:lnTo>
                  <a:pt x="4063668" y="122432"/>
                </a:lnTo>
                <a:lnTo>
                  <a:pt x="4063668" y="2368"/>
                </a:lnTo>
                <a:lnTo>
                  <a:pt x="4043065" y="64"/>
                </a:lnTo>
                <a:lnTo>
                  <a:pt x="4042311" y="0"/>
                </a:lnTo>
                <a:close/>
              </a:path>
              <a:path w="4196715" h="831850">
                <a:moveTo>
                  <a:pt x="4196699" y="391807"/>
                </a:moveTo>
                <a:lnTo>
                  <a:pt x="4063668" y="391807"/>
                </a:lnTo>
                <a:lnTo>
                  <a:pt x="4063668" y="562258"/>
                </a:lnTo>
                <a:lnTo>
                  <a:pt x="4042402" y="569113"/>
                </a:lnTo>
                <a:lnTo>
                  <a:pt x="4020236" y="573898"/>
                </a:lnTo>
                <a:lnTo>
                  <a:pt x="3996990" y="576703"/>
                </a:lnTo>
                <a:lnTo>
                  <a:pt x="3972485" y="577618"/>
                </a:lnTo>
                <a:lnTo>
                  <a:pt x="4196699" y="577618"/>
                </a:lnTo>
                <a:lnTo>
                  <a:pt x="4196699" y="391807"/>
                </a:lnTo>
                <a:close/>
              </a:path>
              <a:path w="4196715" h="831850">
                <a:moveTo>
                  <a:pt x="4063668" y="122432"/>
                </a:moveTo>
                <a:lnTo>
                  <a:pt x="3988802" y="122432"/>
                </a:lnTo>
                <a:lnTo>
                  <a:pt x="4008058" y="122879"/>
                </a:lnTo>
                <a:lnTo>
                  <a:pt x="4026955" y="124184"/>
                </a:lnTo>
                <a:lnTo>
                  <a:pt x="4045491" y="126293"/>
                </a:lnTo>
                <a:lnTo>
                  <a:pt x="4063668" y="129152"/>
                </a:lnTo>
                <a:lnTo>
                  <a:pt x="4063668" y="122432"/>
                </a:lnTo>
                <a:close/>
              </a:path>
              <a:path w="4196715" h="831850">
                <a:moveTo>
                  <a:pt x="4153891" y="10560"/>
                </a:moveTo>
                <a:lnTo>
                  <a:pt x="4117324" y="30285"/>
                </a:lnTo>
                <a:lnTo>
                  <a:pt x="4110291" y="54272"/>
                </a:lnTo>
                <a:lnTo>
                  <a:pt x="4110291" y="55232"/>
                </a:lnTo>
                <a:lnTo>
                  <a:pt x="4128516" y="91995"/>
                </a:lnTo>
                <a:lnTo>
                  <a:pt x="4153891" y="98880"/>
                </a:lnTo>
                <a:lnTo>
                  <a:pt x="4162551" y="98145"/>
                </a:lnTo>
                <a:lnTo>
                  <a:pt x="4170520" y="95880"/>
                </a:lnTo>
                <a:lnTo>
                  <a:pt x="4177854" y="91995"/>
                </a:lnTo>
                <a:lnTo>
                  <a:pt x="4179354" y="90752"/>
                </a:lnTo>
                <a:lnTo>
                  <a:pt x="4153891" y="90752"/>
                </a:lnTo>
                <a:lnTo>
                  <a:pt x="4146413" y="90110"/>
                </a:lnTo>
                <a:lnTo>
                  <a:pt x="4119508" y="62021"/>
                </a:lnTo>
                <a:lnTo>
                  <a:pt x="4118930" y="54272"/>
                </a:lnTo>
                <a:lnTo>
                  <a:pt x="4119515" y="47715"/>
                </a:lnTo>
                <a:lnTo>
                  <a:pt x="4146699" y="19905"/>
                </a:lnTo>
                <a:lnTo>
                  <a:pt x="4153891" y="19200"/>
                </a:lnTo>
                <a:lnTo>
                  <a:pt x="4179658" y="19200"/>
                </a:lnTo>
                <a:lnTo>
                  <a:pt x="4178070" y="17823"/>
                </a:lnTo>
                <a:lnTo>
                  <a:pt x="4170712" y="13784"/>
                </a:lnTo>
                <a:lnTo>
                  <a:pt x="4162623" y="11365"/>
                </a:lnTo>
                <a:lnTo>
                  <a:pt x="4153891" y="10560"/>
                </a:lnTo>
                <a:close/>
              </a:path>
              <a:path w="4196715" h="831850">
                <a:moveTo>
                  <a:pt x="4179658" y="19200"/>
                </a:moveTo>
                <a:lnTo>
                  <a:pt x="4153891" y="19200"/>
                </a:lnTo>
                <a:lnTo>
                  <a:pt x="4160825" y="19905"/>
                </a:lnTo>
                <a:lnTo>
                  <a:pt x="4167225" y="21960"/>
                </a:lnTo>
                <a:lnTo>
                  <a:pt x="4188405" y="54272"/>
                </a:lnTo>
                <a:lnTo>
                  <a:pt x="4188401" y="55232"/>
                </a:lnTo>
                <a:lnTo>
                  <a:pt x="4167225" y="87992"/>
                </a:lnTo>
                <a:lnTo>
                  <a:pt x="4153891" y="90752"/>
                </a:lnTo>
                <a:lnTo>
                  <a:pt x="4179354" y="90752"/>
                </a:lnTo>
                <a:lnTo>
                  <a:pt x="4196699" y="50019"/>
                </a:lnTo>
                <a:lnTo>
                  <a:pt x="4196348" y="45727"/>
                </a:lnTo>
                <a:lnTo>
                  <a:pt x="4194084" y="37496"/>
                </a:lnTo>
                <a:lnTo>
                  <a:pt x="4190200" y="30069"/>
                </a:lnTo>
                <a:lnTo>
                  <a:pt x="4184606" y="23488"/>
                </a:lnTo>
                <a:lnTo>
                  <a:pt x="4179658" y="19200"/>
                </a:lnTo>
                <a:close/>
              </a:path>
              <a:path w="4196715" h="831850">
                <a:moveTo>
                  <a:pt x="4165921" y="29760"/>
                </a:moveTo>
                <a:lnTo>
                  <a:pt x="4135655" y="29760"/>
                </a:lnTo>
                <a:lnTo>
                  <a:pt x="4135655" y="78272"/>
                </a:lnTo>
                <a:lnTo>
                  <a:pt x="4147684" y="78272"/>
                </a:lnTo>
                <a:lnTo>
                  <a:pt x="4147684" y="38912"/>
                </a:lnTo>
                <a:lnTo>
                  <a:pt x="4174559" y="38912"/>
                </a:lnTo>
                <a:lnTo>
                  <a:pt x="4174559" y="35520"/>
                </a:lnTo>
                <a:lnTo>
                  <a:pt x="4165921" y="29760"/>
                </a:lnTo>
                <a:close/>
              </a:path>
              <a:path w="4196715" h="831850">
                <a:moveTo>
                  <a:pt x="4174559" y="38912"/>
                </a:moveTo>
                <a:lnTo>
                  <a:pt x="4159202" y="38912"/>
                </a:lnTo>
                <a:lnTo>
                  <a:pt x="4162530" y="41792"/>
                </a:lnTo>
                <a:lnTo>
                  <a:pt x="4162530" y="51392"/>
                </a:lnTo>
                <a:lnTo>
                  <a:pt x="4158690" y="54272"/>
                </a:lnTo>
                <a:lnTo>
                  <a:pt x="4151012" y="55232"/>
                </a:lnTo>
                <a:lnTo>
                  <a:pt x="4151012" y="57152"/>
                </a:lnTo>
                <a:lnTo>
                  <a:pt x="4163489" y="78272"/>
                </a:lnTo>
                <a:lnTo>
                  <a:pt x="4176927" y="78272"/>
                </a:lnTo>
                <a:lnTo>
                  <a:pt x="4164001" y="59520"/>
                </a:lnTo>
                <a:lnTo>
                  <a:pt x="4171168" y="56640"/>
                </a:lnTo>
                <a:lnTo>
                  <a:pt x="4174559" y="51840"/>
                </a:lnTo>
                <a:lnTo>
                  <a:pt x="4174559" y="38912"/>
                </a:lnTo>
                <a:close/>
              </a:path>
              <a:path w="4196715" h="831850">
                <a:moveTo>
                  <a:pt x="4196699" y="800414"/>
                </a:moveTo>
                <a:lnTo>
                  <a:pt x="0" y="800414"/>
                </a:lnTo>
                <a:lnTo>
                  <a:pt x="0" y="831627"/>
                </a:lnTo>
                <a:lnTo>
                  <a:pt x="4196699" y="831627"/>
                </a:lnTo>
                <a:lnTo>
                  <a:pt x="4196699" y="800414"/>
                </a:lnTo>
                <a:close/>
              </a:path>
              <a:path w="4196715" h="831850">
                <a:moveTo>
                  <a:pt x="3506394" y="10048"/>
                </a:moveTo>
                <a:lnTo>
                  <a:pt x="3353782" y="10048"/>
                </a:lnTo>
                <a:lnTo>
                  <a:pt x="3353783" y="687096"/>
                </a:lnTo>
                <a:lnTo>
                  <a:pt x="3506395" y="687096"/>
                </a:lnTo>
                <a:lnTo>
                  <a:pt x="3506394" y="10048"/>
                </a:lnTo>
                <a:close/>
              </a:path>
              <a:path w="4196715" h="831850">
                <a:moveTo>
                  <a:pt x="2770082" y="505599"/>
                </a:moveTo>
                <a:lnTo>
                  <a:pt x="2770082" y="644843"/>
                </a:lnTo>
                <a:lnTo>
                  <a:pt x="2808901" y="664365"/>
                </a:lnTo>
                <a:lnTo>
                  <a:pt x="2851661" y="679669"/>
                </a:lnTo>
                <a:lnTo>
                  <a:pt x="2898387" y="690686"/>
                </a:lnTo>
                <a:lnTo>
                  <a:pt x="2949102" y="697347"/>
                </a:lnTo>
                <a:lnTo>
                  <a:pt x="3003831" y="699582"/>
                </a:lnTo>
                <a:lnTo>
                  <a:pt x="3060789" y="696064"/>
                </a:lnTo>
                <a:lnTo>
                  <a:pt x="3110691" y="685478"/>
                </a:lnTo>
                <a:lnTo>
                  <a:pt x="3153491" y="667779"/>
                </a:lnTo>
                <a:lnTo>
                  <a:pt x="3189141" y="642923"/>
                </a:lnTo>
                <a:lnTo>
                  <a:pt x="3218036" y="612740"/>
                </a:lnTo>
                <a:lnTo>
                  <a:pt x="3238556" y="578997"/>
                </a:lnTo>
                <a:lnTo>
                  <a:pt x="3238691" y="578584"/>
                </a:lnTo>
                <a:lnTo>
                  <a:pt x="2984187" y="578584"/>
                </a:lnTo>
                <a:lnTo>
                  <a:pt x="2959581" y="577398"/>
                </a:lnTo>
                <a:lnTo>
                  <a:pt x="2905379" y="567644"/>
                </a:lnTo>
                <a:lnTo>
                  <a:pt x="2846343" y="548074"/>
                </a:lnTo>
                <a:lnTo>
                  <a:pt x="2793463" y="521567"/>
                </a:lnTo>
                <a:lnTo>
                  <a:pt x="2770082" y="505599"/>
                </a:lnTo>
                <a:close/>
              </a:path>
              <a:path w="4196715" h="831850">
                <a:moveTo>
                  <a:pt x="3071068" y="0"/>
                </a:moveTo>
                <a:lnTo>
                  <a:pt x="2957784" y="0"/>
                </a:lnTo>
                <a:lnTo>
                  <a:pt x="2916535" y="9000"/>
                </a:lnTo>
                <a:lnTo>
                  <a:pt x="2877242" y="24915"/>
                </a:lnTo>
                <a:lnTo>
                  <a:pt x="2842580" y="47040"/>
                </a:lnTo>
                <a:lnTo>
                  <a:pt x="2815045" y="74839"/>
                </a:lnTo>
                <a:lnTo>
                  <a:pt x="2783200" y="143204"/>
                </a:lnTo>
                <a:lnTo>
                  <a:pt x="2779168" y="183423"/>
                </a:lnTo>
                <a:lnTo>
                  <a:pt x="2785423" y="230107"/>
                </a:lnTo>
                <a:lnTo>
                  <a:pt x="2804041" y="269590"/>
                </a:lnTo>
                <a:lnTo>
                  <a:pt x="2832333" y="302836"/>
                </a:lnTo>
                <a:lnTo>
                  <a:pt x="2867612" y="330813"/>
                </a:lnTo>
                <a:lnTo>
                  <a:pt x="2907187" y="354483"/>
                </a:lnTo>
                <a:lnTo>
                  <a:pt x="2948370" y="374813"/>
                </a:lnTo>
                <a:lnTo>
                  <a:pt x="2988474" y="392767"/>
                </a:lnTo>
                <a:lnTo>
                  <a:pt x="3032571" y="415362"/>
                </a:lnTo>
                <a:lnTo>
                  <a:pt x="3068755" y="441383"/>
                </a:lnTo>
                <a:lnTo>
                  <a:pt x="3093241" y="470824"/>
                </a:lnTo>
                <a:lnTo>
                  <a:pt x="3102245" y="503679"/>
                </a:lnTo>
                <a:lnTo>
                  <a:pt x="3093579" y="536448"/>
                </a:lnTo>
                <a:lnTo>
                  <a:pt x="3069299" y="559856"/>
                </a:lnTo>
                <a:lnTo>
                  <a:pt x="3031977" y="573902"/>
                </a:lnTo>
                <a:lnTo>
                  <a:pt x="2984187" y="578584"/>
                </a:lnTo>
                <a:lnTo>
                  <a:pt x="3238691" y="578584"/>
                </a:lnTo>
                <a:lnTo>
                  <a:pt x="3250798" y="541558"/>
                </a:lnTo>
                <a:lnTo>
                  <a:pt x="3254857" y="500287"/>
                </a:lnTo>
                <a:lnTo>
                  <a:pt x="3248488" y="449708"/>
                </a:lnTo>
                <a:lnTo>
                  <a:pt x="3230877" y="404823"/>
                </a:lnTo>
                <a:lnTo>
                  <a:pt x="3204268" y="367222"/>
                </a:lnTo>
                <a:lnTo>
                  <a:pt x="3170904" y="338495"/>
                </a:lnTo>
                <a:lnTo>
                  <a:pt x="3133439" y="314543"/>
                </a:lnTo>
                <a:lnTo>
                  <a:pt x="3093094" y="292415"/>
                </a:lnTo>
                <a:lnTo>
                  <a:pt x="2982787" y="240511"/>
                </a:lnTo>
                <a:lnTo>
                  <a:pt x="2945909" y="214709"/>
                </a:lnTo>
                <a:lnTo>
                  <a:pt x="2931844" y="182463"/>
                </a:lnTo>
                <a:lnTo>
                  <a:pt x="2939388" y="152998"/>
                </a:lnTo>
                <a:lnTo>
                  <a:pt x="2960519" y="132167"/>
                </a:lnTo>
                <a:lnTo>
                  <a:pt x="2992988" y="119796"/>
                </a:lnTo>
                <a:lnTo>
                  <a:pt x="3034545" y="115712"/>
                </a:lnTo>
                <a:lnTo>
                  <a:pt x="3211665" y="115712"/>
                </a:lnTo>
                <a:lnTo>
                  <a:pt x="3211665" y="38912"/>
                </a:lnTo>
                <a:lnTo>
                  <a:pt x="3164028" y="20055"/>
                </a:lnTo>
                <a:lnTo>
                  <a:pt x="3114586" y="6712"/>
                </a:lnTo>
                <a:lnTo>
                  <a:pt x="3071068" y="0"/>
                </a:lnTo>
                <a:close/>
              </a:path>
              <a:path w="4196715" h="831850">
                <a:moveTo>
                  <a:pt x="3211665" y="115712"/>
                </a:moveTo>
                <a:lnTo>
                  <a:pt x="3034545" y="115712"/>
                </a:lnTo>
                <a:lnTo>
                  <a:pt x="3055004" y="116690"/>
                </a:lnTo>
                <a:lnTo>
                  <a:pt x="3076801" y="119599"/>
                </a:lnTo>
                <a:lnTo>
                  <a:pt x="3124769" y="131071"/>
                </a:lnTo>
                <a:lnTo>
                  <a:pt x="3172032" y="148727"/>
                </a:lnTo>
                <a:lnTo>
                  <a:pt x="3211665" y="169983"/>
                </a:lnTo>
                <a:lnTo>
                  <a:pt x="3211665" y="115712"/>
                </a:lnTo>
                <a:close/>
              </a:path>
              <a:path w="4196715" h="831850">
                <a:moveTo>
                  <a:pt x="2428321" y="11008"/>
                </a:moveTo>
                <a:lnTo>
                  <a:pt x="2154707" y="11008"/>
                </a:lnTo>
                <a:lnTo>
                  <a:pt x="2154707" y="687096"/>
                </a:lnTo>
                <a:lnTo>
                  <a:pt x="2307383" y="687096"/>
                </a:lnTo>
                <a:lnTo>
                  <a:pt x="2307383" y="127231"/>
                </a:lnTo>
                <a:lnTo>
                  <a:pt x="2653115" y="127231"/>
                </a:lnTo>
                <a:lnTo>
                  <a:pt x="2605888" y="70592"/>
                </a:lnTo>
                <a:lnTo>
                  <a:pt x="2567561" y="44461"/>
                </a:lnTo>
                <a:lnTo>
                  <a:pt x="2525215" y="25848"/>
                </a:lnTo>
                <a:lnTo>
                  <a:pt x="2478813" y="14711"/>
                </a:lnTo>
                <a:lnTo>
                  <a:pt x="2428321" y="11008"/>
                </a:lnTo>
                <a:close/>
              </a:path>
              <a:path w="4196715" h="831850">
                <a:moveTo>
                  <a:pt x="2653115" y="127231"/>
                </a:moveTo>
                <a:lnTo>
                  <a:pt x="2399526" y="127231"/>
                </a:lnTo>
                <a:lnTo>
                  <a:pt x="2453192" y="136104"/>
                </a:lnTo>
                <a:lnTo>
                  <a:pt x="2494021" y="161495"/>
                </a:lnTo>
                <a:lnTo>
                  <a:pt x="2519996" y="201562"/>
                </a:lnTo>
                <a:lnTo>
                  <a:pt x="2529102" y="254463"/>
                </a:lnTo>
                <a:lnTo>
                  <a:pt x="2522809" y="293010"/>
                </a:lnTo>
                <a:lnTo>
                  <a:pt x="2503849" y="327857"/>
                </a:lnTo>
                <a:lnTo>
                  <a:pt x="2472103" y="357166"/>
                </a:lnTo>
                <a:lnTo>
                  <a:pt x="2427450" y="379096"/>
                </a:lnTo>
                <a:lnTo>
                  <a:pt x="2369772" y="391807"/>
                </a:lnTo>
                <a:lnTo>
                  <a:pt x="2369772" y="406207"/>
                </a:lnTo>
                <a:lnTo>
                  <a:pt x="2548299" y="687096"/>
                </a:lnTo>
                <a:lnTo>
                  <a:pt x="2722539" y="687096"/>
                </a:lnTo>
                <a:lnTo>
                  <a:pt x="2544459" y="437887"/>
                </a:lnTo>
                <a:lnTo>
                  <a:pt x="2593580" y="407813"/>
                </a:lnTo>
                <a:lnTo>
                  <a:pt x="2631539" y="369877"/>
                </a:lnTo>
                <a:lnTo>
                  <a:pt x="2658477" y="326479"/>
                </a:lnTo>
                <a:lnTo>
                  <a:pt x="2674537" y="280019"/>
                </a:lnTo>
                <a:lnTo>
                  <a:pt x="2679858" y="232895"/>
                </a:lnTo>
                <a:lnTo>
                  <a:pt x="2675193" y="184027"/>
                </a:lnTo>
                <a:lnTo>
                  <a:pt x="2661254" y="140559"/>
                </a:lnTo>
                <a:lnTo>
                  <a:pt x="2653115" y="127231"/>
                </a:lnTo>
                <a:close/>
              </a:path>
              <a:path w="4196715" h="831850">
                <a:moveTo>
                  <a:pt x="2056293" y="10048"/>
                </a:moveTo>
                <a:lnTo>
                  <a:pt x="1597945" y="10048"/>
                </a:lnTo>
                <a:lnTo>
                  <a:pt x="1597946" y="687096"/>
                </a:lnTo>
                <a:lnTo>
                  <a:pt x="2075490" y="687096"/>
                </a:lnTo>
                <a:lnTo>
                  <a:pt x="2075490" y="568978"/>
                </a:lnTo>
                <a:lnTo>
                  <a:pt x="1750558" y="568978"/>
                </a:lnTo>
                <a:lnTo>
                  <a:pt x="1750557" y="391807"/>
                </a:lnTo>
                <a:lnTo>
                  <a:pt x="2024171" y="391807"/>
                </a:lnTo>
                <a:lnTo>
                  <a:pt x="2024171" y="278015"/>
                </a:lnTo>
                <a:lnTo>
                  <a:pt x="1750557" y="278015"/>
                </a:lnTo>
                <a:lnTo>
                  <a:pt x="1750557" y="128191"/>
                </a:lnTo>
                <a:lnTo>
                  <a:pt x="2056293" y="128191"/>
                </a:lnTo>
                <a:lnTo>
                  <a:pt x="2056293" y="10048"/>
                </a:lnTo>
                <a:close/>
              </a:path>
              <a:path w="4196715" h="831850">
                <a:moveTo>
                  <a:pt x="1302256" y="127231"/>
                </a:moveTo>
                <a:lnTo>
                  <a:pt x="1149132" y="127231"/>
                </a:lnTo>
                <a:lnTo>
                  <a:pt x="1149132" y="687096"/>
                </a:lnTo>
                <a:lnTo>
                  <a:pt x="1302256" y="687096"/>
                </a:lnTo>
                <a:lnTo>
                  <a:pt x="1302256" y="127231"/>
                </a:lnTo>
                <a:close/>
              </a:path>
              <a:path w="4196715" h="831850">
                <a:moveTo>
                  <a:pt x="1499020" y="9088"/>
                </a:moveTo>
                <a:lnTo>
                  <a:pt x="951344" y="9088"/>
                </a:lnTo>
                <a:lnTo>
                  <a:pt x="951344" y="127231"/>
                </a:lnTo>
                <a:lnTo>
                  <a:pt x="1499020" y="127231"/>
                </a:lnTo>
                <a:lnTo>
                  <a:pt x="1499020" y="9088"/>
                </a:lnTo>
                <a:close/>
              </a:path>
              <a:path w="4196715" h="831850">
                <a:moveTo>
                  <a:pt x="582655" y="279935"/>
                </a:moveTo>
                <a:lnTo>
                  <a:pt x="403682" y="279935"/>
                </a:lnTo>
                <a:lnTo>
                  <a:pt x="830855" y="698622"/>
                </a:lnTo>
                <a:lnTo>
                  <a:pt x="852483" y="687096"/>
                </a:lnTo>
                <a:lnTo>
                  <a:pt x="852483" y="388415"/>
                </a:lnTo>
                <a:lnTo>
                  <a:pt x="700831" y="388415"/>
                </a:lnTo>
                <a:lnTo>
                  <a:pt x="582655" y="279935"/>
                </a:lnTo>
                <a:close/>
              </a:path>
              <a:path w="4196715" h="831850">
                <a:moveTo>
                  <a:pt x="277698" y="0"/>
                </a:moveTo>
                <a:lnTo>
                  <a:pt x="269131" y="0"/>
                </a:lnTo>
                <a:lnTo>
                  <a:pt x="251998" y="9087"/>
                </a:lnTo>
                <a:lnTo>
                  <a:pt x="251998" y="687096"/>
                </a:lnTo>
                <a:lnTo>
                  <a:pt x="403682" y="687096"/>
                </a:lnTo>
                <a:lnTo>
                  <a:pt x="403682" y="279935"/>
                </a:lnTo>
                <a:lnTo>
                  <a:pt x="582655" y="279935"/>
                </a:lnTo>
                <a:lnTo>
                  <a:pt x="277698" y="0"/>
                </a:lnTo>
                <a:close/>
              </a:path>
              <a:path w="4196715" h="831850">
                <a:moveTo>
                  <a:pt x="852483" y="10048"/>
                </a:moveTo>
                <a:lnTo>
                  <a:pt x="700830" y="10048"/>
                </a:lnTo>
                <a:lnTo>
                  <a:pt x="700831" y="388415"/>
                </a:lnTo>
                <a:lnTo>
                  <a:pt x="852483" y="388415"/>
                </a:lnTo>
                <a:lnTo>
                  <a:pt x="852483" y="10048"/>
                </a:lnTo>
                <a:close/>
              </a:path>
              <a:path w="4196715" h="831850">
                <a:moveTo>
                  <a:pt x="153117" y="9087"/>
                </a:moveTo>
                <a:lnTo>
                  <a:pt x="0" y="9087"/>
                </a:lnTo>
                <a:lnTo>
                  <a:pt x="0" y="687096"/>
                </a:lnTo>
                <a:lnTo>
                  <a:pt x="153117" y="687096"/>
                </a:lnTo>
                <a:lnTo>
                  <a:pt x="153117" y="9087"/>
                </a:lnTo>
                <a:close/>
              </a:path>
            </a:pathLst>
          </a:custGeom>
          <a:solidFill>
            <a:srgbClr val="EB1C2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997452" y="3167437"/>
            <a:ext cx="4198620" cy="229870"/>
          </a:xfrm>
          <a:custGeom>
            <a:avLst/>
            <a:gdLst/>
            <a:ahLst/>
            <a:cxnLst/>
            <a:rect l="l" t="t" r="r" b="b"/>
            <a:pathLst>
              <a:path w="4198620" h="229870">
                <a:moveTo>
                  <a:pt x="4122697" y="2400"/>
                </a:moveTo>
                <a:lnTo>
                  <a:pt x="4033945" y="2400"/>
                </a:lnTo>
                <a:lnTo>
                  <a:pt x="4033945" y="227594"/>
                </a:lnTo>
                <a:lnTo>
                  <a:pt x="4069459" y="227594"/>
                </a:lnTo>
                <a:lnTo>
                  <a:pt x="4069459" y="138764"/>
                </a:lnTo>
                <a:lnTo>
                  <a:pt x="4122697" y="138764"/>
                </a:lnTo>
                <a:lnTo>
                  <a:pt x="4153911" y="133580"/>
                </a:lnTo>
                <a:lnTo>
                  <a:pt x="4177663" y="119259"/>
                </a:lnTo>
                <a:lnTo>
                  <a:pt x="4185510" y="108038"/>
                </a:lnTo>
                <a:lnTo>
                  <a:pt x="4069459" y="108038"/>
                </a:lnTo>
                <a:lnTo>
                  <a:pt x="4069459" y="33132"/>
                </a:lnTo>
                <a:lnTo>
                  <a:pt x="4185511" y="33132"/>
                </a:lnTo>
                <a:lnTo>
                  <a:pt x="4177663" y="21907"/>
                </a:lnTo>
                <a:lnTo>
                  <a:pt x="4153911" y="7584"/>
                </a:lnTo>
                <a:lnTo>
                  <a:pt x="4122697" y="2400"/>
                </a:lnTo>
                <a:close/>
              </a:path>
              <a:path w="4198620" h="229870">
                <a:moveTo>
                  <a:pt x="4185511" y="33132"/>
                </a:moveTo>
                <a:lnTo>
                  <a:pt x="4120777" y="33132"/>
                </a:lnTo>
                <a:lnTo>
                  <a:pt x="4137834" y="35607"/>
                </a:lnTo>
                <a:lnTo>
                  <a:pt x="4151028" y="42854"/>
                </a:lnTo>
                <a:lnTo>
                  <a:pt x="4159542" y="54603"/>
                </a:lnTo>
                <a:lnTo>
                  <a:pt x="4162562" y="70585"/>
                </a:lnTo>
                <a:lnTo>
                  <a:pt x="4159542" y="86565"/>
                </a:lnTo>
                <a:lnTo>
                  <a:pt x="4151028" y="98314"/>
                </a:lnTo>
                <a:lnTo>
                  <a:pt x="4137834" y="105562"/>
                </a:lnTo>
                <a:lnTo>
                  <a:pt x="4120777" y="108038"/>
                </a:lnTo>
                <a:lnTo>
                  <a:pt x="4185510" y="108038"/>
                </a:lnTo>
                <a:lnTo>
                  <a:pt x="4192776" y="97646"/>
                </a:lnTo>
                <a:lnTo>
                  <a:pt x="4198075" y="70585"/>
                </a:lnTo>
                <a:lnTo>
                  <a:pt x="4192776" y="43523"/>
                </a:lnTo>
                <a:lnTo>
                  <a:pt x="4185511" y="33132"/>
                </a:lnTo>
                <a:close/>
              </a:path>
              <a:path w="4198620" h="229870">
                <a:moveTo>
                  <a:pt x="3842365" y="2400"/>
                </a:moveTo>
                <a:lnTo>
                  <a:pt x="3806851" y="2400"/>
                </a:lnTo>
                <a:lnTo>
                  <a:pt x="3806851" y="151250"/>
                </a:lnTo>
                <a:lnTo>
                  <a:pt x="3813293" y="183127"/>
                </a:lnTo>
                <a:lnTo>
                  <a:pt x="3831031" y="207847"/>
                </a:lnTo>
                <a:lnTo>
                  <a:pt x="3857683" y="223835"/>
                </a:lnTo>
                <a:lnTo>
                  <a:pt x="3890868" y="229514"/>
                </a:lnTo>
                <a:lnTo>
                  <a:pt x="3924123" y="223835"/>
                </a:lnTo>
                <a:lnTo>
                  <a:pt x="3950929" y="207847"/>
                </a:lnTo>
                <a:lnTo>
                  <a:pt x="3957488" y="198784"/>
                </a:lnTo>
                <a:lnTo>
                  <a:pt x="3890868" y="198784"/>
                </a:lnTo>
                <a:lnTo>
                  <a:pt x="3870952" y="195386"/>
                </a:lnTo>
                <a:lnTo>
                  <a:pt x="3855650" y="185640"/>
                </a:lnTo>
                <a:lnTo>
                  <a:pt x="3845831" y="170223"/>
                </a:lnTo>
                <a:lnTo>
                  <a:pt x="3842365" y="149810"/>
                </a:lnTo>
                <a:lnTo>
                  <a:pt x="3842365" y="2400"/>
                </a:lnTo>
                <a:close/>
              </a:path>
              <a:path w="4198620" h="229870">
                <a:moveTo>
                  <a:pt x="3975332" y="2400"/>
                </a:moveTo>
                <a:lnTo>
                  <a:pt x="3939819" y="2400"/>
                </a:lnTo>
                <a:lnTo>
                  <a:pt x="3939819" y="149810"/>
                </a:lnTo>
                <a:lnTo>
                  <a:pt x="3936291" y="170223"/>
                </a:lnTo>
                <a:lnTo>
                  <a:pt x="3926333" y="185640"/>
                </a:lnTo>
                <a:lnTo>
                  <a:pt x="3910880" y="195386"/>
                </a:lnTo>
                <a:lnTo>
                  <a:pt x="3890868" y="198784"/>
                </a:lnTo>
                <a:lnTo>
                  <a:pt x="3957488" y="198784"/>
                </a:lnTo>
                <a:lnTo>
                  <a:pt x="3968820" y="183127"/>
                </a:lnTo>
                <a:lnTo>
                  <a:pt x="3975332" y="151250"/>
                </a:lnTo>
                <a:lnTo>
                  <a:pt x="3975332" y="2400"/>
                </a:lnTo>
                <a:close/>
              </a:path>
              <a:path w="4198620" h="229870">
                <a:moveTo>
                  <a:pt x="3671964" y="0"/>
                </a:moveTo>
                <a:lnTo>
                  <a:pt x="3623319" y="13570"/>
                </a:lnTo>
                <a:lnTo>
                  <a:pt x="3597218" y="41629"/>
                </a:lnTo>
                <a:lnTo>
                  <a:pt x="3587888" y="85251"/>
                </a:lnTo>
                <a:lnTo>
                  <a:pt x="3587500" y="114758"/>
                </a:lnTo>
                <a:lnTo>
                  <a:pt x="3587859" y="143987"/>
                </a:lnTo>
                <a:lnTo>
                  <a:pt x="3597218" y="187681"/>
                </a:lnTo>
                <a:lnTo>
                  <a:pt x="3623580" y="215260"/>
                </a:lnTo>
                <a:lnTo>
                  <a:pt x="3671964" y="229034"/>
                </a:lnTo>
                <a:lnTo>
                  <a:pt x="3690235" y="227511"/>
                </a:lnTo>
                <a:lnTo>
                  <a:pt x="3706790" y="222972"/>
                </a:lnTo>
                <a:lnTo>
                  <a:pt x="3721545" y="215462"/>
                </a:lnTo>
                <a:lnTo>
                  <a:pt x="3734417" y="205026"/>
                </a:lnTo>
                <a:lnTo>
                  <a:pt x="3739913" y="197824"/>
                </a:lnTo>
                <a:lnTo>
                  <a:pt x="3671964" y="197824"/>
                </a:lnTo>
                <a:lnTo>
                  <a:pt x="3662048" y="196871"/>
                </a:lnTo>
                <a:lnTo>
                  <a:pt x="3630382" y="174716"/>
                </a:lnTo>
                <a:lnTo>
                  <a:pt x="3623525" y="114758"/>
                </a:lnTo>
                <a:lnTo>
                  <a:pt x="3624073" y="86519"/>
                </a:lnTo>
                <a:lnTo>
                  <a:pt x="3637410" y="44652"/>
                </a:lnTo>
                <a:lnTo>
                  <a:pt x="3671964" y="31212"/>
                </a:lnTo>
                <a:lnTo>
                  <a:pt x="3739914" y="31212"/>
                </a:lnTo>
                <a:lnTo>
                  <a:pt x="3734416" y="24006"/>
                </a:lnTo>
                <a:lnTo>
                  <a:pt x="3721293" y="13772"/>
                </a:lnTo>
                <a:lnTo>
                  <a:pt x="3706454" y="6240"/>
                </a:lnTo>
                <a:lnTo>
                  <a:pt x="3689983" y="1590"/>
                </a:lnTo>
                <a:lnTo>
                  <a:pt x="3671964" y="0"/>
                </a:lnTo>
                <a:close/>
              </a:path>
              <a:path w="4198620" h="229870">
                <a:moveTo>
                  <a:pt x="3739914" y="31212"/>
                </a:moveTo>
                <a:lnTo>
                  <a:pt x="3671964" y="31212"/>
                </a:lnTo>
                <a:lnTo>
                  <a:pt x="3682185" y="32165"/>
                </a:lnTo>
                <a:lnTo>
                  <a:pt x="3691680" y="34872"/>
                </a:lnTo>
                <a:lnTo>
                  <a:pt x="3718491" y="67463"/>
                </a:lnTo>
                <a:lnTo>
                  <a:pt x="3720979" y="114758"/>
                </a:lnTo>
                <a:lnTo>
                  <a:pt x="3720419" y="142786"/>
                </a:lnTo>
                <a:lnTo>
                  <a:pt x="3707030" y="184379"/>
                </a:lnTo>
                <a:lnTo>
                  <a:pt x="3671964" y="197824"/>
                </a:lnTo>
                <a:lnTo>
                  <a:pt x="3739913" y="197824"/>
                </a:lnTo>
                <a:lnTo>
                  <a:pt x="3747654" y="187681"/>
                </a:lnTo>
                <a:lnTo>
                  <a:pt x="3754317" y="167814"/>
                </a:lnTo>
                <a:lnTo>
                  <a:pt x="3756660" y="143987"/>
                </a:lnTo>
                <a:lnTo>
                  <a:pt x="3756940" y="114758"/>
                </a:lnTo>
                <a:lnTo>
                  <a:pt x="3756660" y="85251"/>
                </a:lnTo>
                <a:lnTo>
                  <a:pt x="3754317" y="61279"/>
                </a:lnTo>
                <a:lnTo>
                  <a:pt x="3747654" y="41359"/>
                </a:lnTo>
                <a:lnTo>
                  <a:pt x="3739914" y="31212"/>
                </a:lnTo>
                <a:close/>
              </a:path>
              <a:path w="4198620" h="229870">
                <a:moveTo>
                  <a:pt x="3469889" y="2399"/>
                </a:moveTo>
                <a:lnTo>
                  <a:pt x="3379218" y="2399"/>
                </a:lnTo>
                <a:lnTo>
                  <a:pt x="3379218" y="227594"/>
                </a:lnTo>
                <a:lnTo>
                  <a:pt x="3414731" y="227594"/>
                </a:lnTo>
                <a:lnTo>
                  <a:pt x="3414731" y="133004"/>
                </a:lnTo>
                <a:lnTo>
                  <a:pt x="3499175" y="133004"/>
                </a:lnTo>
                <a:lnTo>
                  <a:pt x="3496316" y="127718"/>
                </a:lnTo>
                <a:lnTo>
                  <a:pt x="3514744" y="120104"/>
                </a:lnTo>
                <a:lnTo>
                  <a:pt x="3529518" y="107493"/>
                </a:lnTo>
                <a:lnTo>
                  <a:pt x="3531925" y="103231"/>
                </a:lnTo>
                <a:lnTo>
                  <a:pt x="3415179" y="103231"/>
                </a:lnTo>
                <a:lnTo>
                  <a:pt x="3415179" y="33132"/>
                </a:lnTo>
                <a:lnTo>
                  <a:pt x="3531753" y="33132"/>
                </a:lnTo>
                <a:lnTo>
                  <a:pt x="3523143" y="20884"/>
                </a:lnTo>
                <a:lnTo>
                  <a:pt x="3500140" y="7276"/>
                </a:lnTo>
                <a:lnTo>
                  <a:pt x="3469889" y="2399"/>
                </a:lnTo>
                <a:close/>
              </a:path>
              <a:path w="4198620" h="229870">
                <a:moveTo>
                  <a:pt x="3499175" y="133004"/>
                </a:moveTo>
                <a:lnTo>
                  <a:pt x="3459331" y="133004"/>
                </a:lnTo>
                <a:lnTo>
                  <a:pt x="3509306" y="227594"/>
                </a:lnTo>
                <a:lnTo>
                  <a:pt x="3509306" y="227113"/>
                </a:lnTo>
                <a:lnTo>
                  <a:pt x="3550066" y="227113"/>
                </a:lnTo>
                <a:lnTo>
                  <a:pt x="3499175" y="133004"/>
                </a:lnTo>
                <a:close/>
              </a:path>
              <a:path w="4198620" h="229870">
                <a:moveTo>
                  <a:pt x="3531753" y="33132"/>
                </a:moveTo>
                <a:lnTo>
                  <a:pt x="3467969" y="33132"/>
                </a:lnTo>
                <a:lnTo>
                  <a:pt x="3484133" y="35570"/>
                </a:lnTo>
                <a:lnTo>
                  <a:pt x="3496732" y="42553"/>
                </a:lnTo>
                <a:lnTo>
                  <a:pt x="3504917" y="53587"/>
                </a:lnTo>
                <a:lnTo>
                  <a:pt x="3507834" y="68179"/>
                </a:lnTo>
                <a:lnTo>
                  <a:pt x="3504980" y="82976"/>
                </a:lnTo>
                <a:lnTo>
                  <a:pt x="3496900" y="93990"/>
                </a:lnTo>
                <a:lnTo>
                  <a:pt x="3484322" y="100861"/>
                </a:lnTo>
                <a:lnTo>
                  <a:pt x="3467970" y="103231"/>
                </a:lnTo>
                <a:lnTo>
                  <a:pt x="3531925" y="103231"/>
                </a:lnTo>
                <a:lnTo>
                  <a:pt x="3539337" y="90109"/>
                </a:lnTo>
                <a:lnTo>
                  <a:pt x="3542900" y="68179"/>
                </a:lnTo>
                <a:lnTo>
                  <a:pt x="3537773" y="41695"/>
                </a:lnTo>
                <a:lnTo>
                  <a:pt x="3531753" y="33132"/>
                </a:lnTo>
                <a:close/>
              </a:path>
              <a:path w="4198620" h="229870">
                <a:moveTo>
                  <a:pt x="3242859" y="479"/>
                </a:moveTo>
                <a:lnTo>
                  <a:pt x="3193746" y="14050"/>
                </a:lnTo>
                <a:lnTo>
                  <a:pt x="3161050" y="61699"/>
                </a:lnTo>
                <a:lnTo>
                  <a:pt x="3158394" y="114758"/>
                </a:lnTo>
                <a:lnTo>
                  <a:pt x="3158684" y="144264"/>
                </a:lnTo>
                <a:lnTo>
                  <a:pt x="3167735" y="188153"/>
                </a:lnTo>
                <a:lnTo>
                  <a:pt x="3194097" y="215740"/>
                </a:lnTo>
                <a:lnTo>
                  <a:pt x="3242859" y="229514"/>
                </a:lnTo>
                <a:lnTo>
                  <a:pt x="3261287" y="227751"/>
                </a:lnTo>
                <a:lnTo>
                  <a:pt x="3278220" y="222612"/>
                </a:lnTo>
                <a:lnTo>
                  <a:pt x="3293439" y="214322"/>
                </a:lnTo>
                <a:lnTo>
                  <a:pt x="3306719" y="203106"/>
                </a:lnTo>
                <a:lnTo>
                  <a:pt x="3310603" y="198304"/>
                </a:lnTo>
                <a:lnTo>
                  <a:pt x="3242411" y="198304"/>
                </a:lnTo>
                <a:lnTo>
                  <a:pt x="3232199" y="197418"/>
                </a:lnTo>
                <a:lnTo>
                  <a:pt x="3200317" y="175189"/>
                </a:lnTo>
                <a:lnTo>
                  <a:pt x="3193460" y="114758"/>
                </a:lnTo>
                <a:lnTo>
                  <a:pt x="3194010" y="86527"/>
                </a:lnTo>
                <a:lnTo>
                  <a:pt x="3207345" y="45132"/>
                </a:lnTo>
                <a:lnTo>
                  <a:pt x="3242411" y="31692"/>
                </a:lnTo>
                <a:lnTo>
                  <a:pt x="3311932" y="31692"/>
                </a:lnTo>
                <a:lnTo>
                  <a:pt x="3313438" y="30246"/>
                </a:lnTo>
                <a:lnTo>
                  <a:pt x="3298217" y="17087"/>
                </a:lnTo>
                <a:lnTo>
                  <a:pt x="3282468" y="7800"/>
                </a:lnTo>
                <a:lnTo>
                  <a:pt x="3264559" y="2295"/>
                </a:lnTo>
                <a:lnTo>
                  <a:pt x="3242859" y="479"/>
                </a:lnTo>
                <a:close/>
              </a:path>
              <a:path w="4198620" h="229870">
                <a:moveTo>
                  <a:pt x="3328347" y="105631"/>
                </a:moveTo>
                <a:lnTo>
                  <a:pt x="3243371" y="105631"/>
                </a:lnTo>
                <a:lnTo>
                  <a:pt x="3243371" y="134444"/>
                </a:lnTo>
                <a:lnTo>
                  <a:pt x="3291810" y="134444"/>
                </a:lnTo>
                <a:lnTo>
                  <a:pt x="3291810" y="146924"/>
                </a:lnTo>
                <a:lnTo>
                  <a:pt x="3272358" y="189391"/>
                </a:lnTo>
                <a:lnTo>
                  <a:pt x="3242411" y="198304"/>
                </a:lnTo>
                <a:lnTo>
                  <a:pt x="3310603" y="198304"/>
                </a:lnTo>
                <a:lnTo>
                  <a:pt x="3316694" y="190772"/>
                </a:lnTo>
                <a:lnTo>
                  <a:pt x="3323268" y="176458"/>
                </a:lnTo>
                <a:lnTo>
                  <a:pt x="3326974" y="159622"/>
                </a:lnTo>
                <a:lnTo>
                  <a:pt x="3328347" y="139724"/>
                </a:lnTo>
                <a:lnTo>
                  <a:pt x="3328347" y="105631"/>
                </a:lnTo>
                <a:close/>
              </a:path>
              <a:path w="4198620" h="229870">
                <a:moveTo>
                  <a:pt x="3311932" y="31692"/>
                </a:moveTo>
                <a:lnTo>
                  <a:pt x="3242411" y="31692"/>
                </a:lnTo>
                <a:lnTo>
                  <a:pt x="3256571" y="33110"/>
                </a:lnTo>
                <a:lnTo>
                  <a:pt x="3268254" y="37273"/>
                </a:lnTo>
                <a:lnTo>
                  <a:pt x="3278773" y="44047"/>
                </a:lnTo>
                <a:lnTo>
                  <a:pt x="3289442" y="53299"/>
                </a:lnTo>
                <a:lnTo>
                  <a:pt x="3311932" y="31692"/>
                </a:lnTo>
                <a:close/>
              </a:path>
              <a:path w="4198620" h="229870">
                <a:moveTo>
                  <a:pt x="3037457" y="2399"/>
                </a:moveTo>
                <a:lnTo>
                  <a:pt x="2887660" y="2399"/>
                </a:lnTo>
                <a:lnTo>
                  <a:pt x="2887660" y="227113"/>
                </a:lnTo>
                <a:lnTo>
                  <a:pt x="3037457" y="227113"/>
                </a:lnTo>
                <a:lnTo>
                  <a:pt x="3037457" y="196383"/>
                </a:lnTo>
                <a:lnTo>
                  <a:pt x="2923174" y="196383"/>
                </a:lnTo>
                <a:lnTo>
                  <a:pt x="2923174" y="128684"/>
                </a:lnTo>
                <a:lnTo>
                  <a:pt x="3020628" y="128684"/>
                </a:lnTo>
                <a:lnTo>
                  <a:pt x="3020628" y="98431"/>
                </a:lnTo>
                <a:lnTo>
                  <a:pt x="2923174" y="98431"/>
                </a:lnTo>
                <a:lnTo>
                  <a:pt x="2923174" y="33132"/>
                </a:lnTo>
                <a:lnTo>
                  <a:pt x="3037457" y="33132"/>
                </a:lnTo>
                <a:lnTo>
                  <a:pt x="3037457" y="2399"/>
                </a:lnTo>
                <a:close/>
              </a:path>
              <a:path w="4198620" h="229870">
                <a:moveTo>
                  <a:pt x="2773441" y="479"/>
                </a:moveTo>
                <a:lnTo>
                  <a:pt x="2724364" y="14050"/>
                </a:lnTo>
                <a:lnTo>
                  <a:pt x="2698183" y="41832"/>
                </a:lnTo>
                <a:lnTo>
                  <a:pt x="2688825" y="85528"/>
                </a:lnTo>
                <a:lnTo>
                  <a:pt x="2688465" y="114758"/>
                </a:lnTo>
                <a:lnTo>
                  <a:pt x="2688825" y="144264"/>
                </a:lnTo>
                <a:lnTo>
                  <a:pt x="2698183" y="188153"/>
                </a:lnTo>
                <a:lnTo>
                  <a:pt x="2724553" y="215740"/>
                </a:lnTo>
                <a:lnTo>
                  <a:pt x="2773441" y="229514"/>
                </a:lnTo>
                <a:lnTo>
                  <a:pt x="2793358" y="227668"/>
                </a:lnTo>
                <a:lnTo>
                  <a:pt x="2810395" y="222312"/>
                </a:lnTo>
                <a:lnTo>
                  <a:pt x="2825272" y="213714"/>
                </a:lnTo>
                <a:lnTo>
                  <a:pt x="2838709" y="202145"/>
                </a:lnTo>
                <a:lnTo>
                  <a:pt x="2834210" y="197824"/>
                </a:lnTo>
                <a:lnTo>
                  <a:pt x="2773441" y="197824"/>
                </a:lnTo>
                <a:lnTo>
                  <a:pt x="2763229" y="196938"/>
                </a:lnTo>
                <a:lnTo>
                  <a:pt x="2731417" y="174919"/>
                </a:lnTo>
                <a:lnTo>
                  <a:pt x="2724938" y="114758"/>
                </a:lnTo>
                <a:lnTo>
                  <a:pt x="2725418" y="86384"/>
                </a:lnTo>
                <a:lnTo>
                  <a:pt x="2738376" y="44652"/>
                </a:lnTo>
                <a:lnTo>
                  <a:pt x="2773441" y="31212"/>
                </a:lnTo>
                <a:lnTo>
                  <a:pt x="2834206" y="31212"/>
                </a:lnTo>
                <a:lnTo>
                  <a:pt x="2838709" y="26886"/>
                </a:lnTo>
                <a:lnTo>
                  <a:pt x="2825344" y="15872"/>
                </a:lnTo>
                <a:lnTo>
                  <a:pt x="2810586" y="7560"/>
                </a:lnTo>
                <a:lnTo>
                  <a:pt x="2793574" y="2310"/>
                </a:lnTo>
                <a:lnTo>
                  <a:pt x="2773441" y="479"/>
                </a:lnTo>
                <a:close/>
              </a:path>
              <a:path w="4198620" h="229870">
                <a:moveTo>
                  <a:pt x="2814714" y="179097"/>
                </a:moveTo>
                <a:lnTo>
                  <a:pt x="2806105" y="186885"/>
                </a:lnTo>
                <a:lnTo>
                  <a:pt x="2796957" y="192782"/>
                </a:lnTo>
                <a:lnTo>
                  <a:pt x="2786369" y="196518"/>
                </a:lnTo>
                <a:lnTo>
                  <a:pt x="2773441" y="197824"/>
                </a:lnTo>
                <a:lnTo>
                  <a:pt x="2834210" y="197824"/>
                </a:lnTo>
                <a:lnTo>
                  <a:pt x="2814714" y="179097"/>
                </a:lnTo>
                <a:close/>
              </a:path>
              <a:path w="4198620" h="229870">
                <a:moveTo>
                  <a:pt x="2834206" y="31212"/>
                </a:moveTo>
                <a:lnTo>
                  <a:pt x="2773441" y="31212"/>
                </a:lnTo>
                <a:lnTo>
                  <a:pt x="2786306" y="32517"/>
                </a:lnTo>
                <a:lnTo>
                  <a:pt x="2796789" y="36253"/>
                </a:lnTo>
                <a:lnTo>
                  <a:pt x="2805916" y="42150"/>
                </a:lnTo>
                <a:lnTo>
                  <a:pt x="2814714" y="49939"/>
                </a:lnTo>
                <a:lnTo>
                  <a:pt x="2834206" y="31212"/>
                </a:lnTo>
                <a:close/>
              </a:path>
              <a:path w="4198620" h="229870">
                <a:moveTo>
                  <a:pt x="2490741" y="2399"/>
                </a:moveTo>
                <a:lnTo>
                  <a:pt x="2458107" y="2399"/>
                </a:lnTo>
                <a:lnTo>
                  <a:pt x="2458107" y="227594"/>
                </a:lnTo>
                <a:lnTo>
                  <a:pt x="2494069" y="227594"/>
                </a:lnTo>
                <a:lnTo>
                  <a:pt x="2494069" y="69138"/>
                </a:lnTo>
                <a:lnTo>
                  <a:pt x="2536563" y="69138"/>
                </a:lnTo>
                <a:lnTo>
                  <a:pt x="2490741" y="2399"/>
                </a:lnTo>
                <a:close/>
              </a:path>
              <a:path w="4198620" h="229870">
                <a:moveTo>
                  <a:pt x="2536563" y="69138"/>
                </a:moveTo>
                <a:lnTo>
                  <a:pt x="2494069" y="69138"/>
                </a:lnTo>
                <a:lnTo>
                  <a:pt x="2602081" y="227594"/>
                </a:lnTo>
                <a:lnTo>
                  <a:pt x="2635227" y="227594"/>
                </a:lnTo>
                <a:lnTo>
                  <a:pt x="2635227" y="160370"/>
                </a:lnTo>
                <a:lnTo>
                  <a:pt x="2599201" y="160370"/>
                </a:lnTo>
                <a:lnTo>
                  <a:pt x="2536563" y="69138"/>
                </a:lnTo>
                <a:close/>
              </a:path>
              <a:path w="4198620" h="229870">
                <a:moveTo>
                  <a:pt x="2635227" y="2399"/>
                </a:moveTo>
                <a:lnTo>
                  <a:pt x="2599201" y="2399"/>
                </a:lnTo>
                <a:lnTo>
                  <a:pt x="2599201" y="160370"/>
                </a:lnTo>
                <a:lnTo>
                  <a:pt x="2635227" y="160370"/>
                </a:lnTo>
                <a:lnTo>
                  <a:pt x="2635227" y="2399"/>
                </a:lnTo>
                <a:close/>
              </a:path>
              <a:path w="4198620" h="229870">
                <a:moveTo>
                  <a:pt x="2338065" y="2399"/>
                </a:moveTo>
                <a:lnTo>
                  <a:pt x="2309783" y="2399"/>
                </a:lnTo>
                <a:lnTo>
                  <a:pt x="2223335" y="227594"/>
                </a:lnTo>
                <a:lnTo>
                  <a:pt x="2261280" y="227594"/>
                </a:lnTo>
                <a:lnTo>
                  <a:pt x="2277597" y="182459"/>
                </a:lnTo>
                <a:lnTo>
                  <a:pt x="2407136" y="182459"/>
                </a:lnTo>
                <a:lnTo>
                  <a:pt x="2395717" y="152690"/>
                </a:lnTo>
                <a:lnTo>
                  <a:pt x="2288155" y="152690"/>
                </a:lnTo>
                <a:lnTo>
                  <a:pt x="2324628" y="53298"/>
                </a:lnTo>
                <a:lnTo>
                  <a:pt x="2357590" y="53298"/>
                </a:lnTo>
                <a:lnTo>
                  <a:pt x="2338065" y="2399"/>
                </a:lnTo>
                <a:close/>
              </a:path>
              <a:path w="4198620" h="229870">
                <a:moveTo>
                  <a:pt x="2407136" y="182459"/>
                </a:moveTo>
                <a:lnTo>
                  <a:pt x="2370251" y="182459"/>
                </a:lnTo>
                <a:lnTo>
                  <a:pt x="2386057" y="227594"/>
                </a:lnTo>
                <a:lnTo>
                  <a:pt x="2424450" y="227594"/>
                </a:lnTo>
                <a:lnTo>
                  <a:pt x="2407136" y="182459"/>
                </a:lnTo>
                <a:close/>
              </a:path>
              <a:path w="4198620" h="229870">
                <a:moveTo>
                  <a:pt x="2357590" y="53298"/>
                </a:moveTo>
                <a:lnTo>
                  <a:pt x="2324628" y="53298"/>
                </a:lnTo>
                <a:lnTo>
                  <a:pt x="2360141" y="152690"/>
                </a:lnTo>
                <a:lnTo>
                  <a:pt x="2395717" y="152690"/>
                </a:lnTo>
                <a:lnTo>
                  <a:pt x="2357590" y="53298"/>
                </a:lnTo>
                <a:close/>
              </a:path>
              <a:path w="4198620" h="229870">
                <a:moveTo>
                  <a:pt x="2154206" y="132524"/>
                </a:moveTo>
                <a:lnTo>
                  <a:pt x="2114874" y="132524"/>
                </a:lnTo>
                <a:lnTo>
                  <a:pt x="2164337" y="227594"/>
                </a:lnTo>
                <a:lnTo>
                  <a:pt x="2164337" y="226633"/>
                </a:lnTo>
                <a:lnTo>
                  <a:pt x="2205098" y="226633"/>
                </a:lnTo>
                <a:lnTo>
                  <a:pt x="2154206" y="132524"/>
                </a:lnTo>
                <a:close/>
              </a:path>
              <a:path w="4198620" h="229870">
                <a:moveTo>
                  <a:pt x="2124985" y="1919"/>
                </a:moveTo>
                <a:lnTo>
                  <a:pt x="2034249" y="1919"/>
                </a:lnTo>
                <a:lnTo>
                  <a:pt x="2034249" y="227113"/>
                </a:lnTo>
                <a:lnTo>
                  <a:pt x="2070211" y="227113"/>
                </a:lnTo>
                <a:lnTo>
                  <a:pt x="2070211" y="132524"/>
                </a:lnTo>
                <a:lnTo>
                  <a:pt x="2154206" y="132524"/>
                </a:lnTo>
                <a:lnTo>
                  <a:pt x="2151348" y="127238"/>
                </a:lnTo>
                <a:lnTo>
                  <a:pt x="2169845" y="119624"/>
                </a:lnTo>
                <a:lnTo>
                  <a:pt x="2184774" y="107013"/>
                </a:lnTo>
                <a:lnTo>
                  <a:pt x="2186943" y="103231"/>
                </a:lnTo>
                <a:lnTo>
                  <a:pt x="2070211" y="103231"/>
                </a:lnTo>
                <a:lnTo>
                  <a:pt x="2070211" y="33132"/>
                </a:lnTo>
                <a:lnTo>
                  <a:pt x="2187426" y="33132"/>
                </a:lnTo>
                <a:lnTo>
                  <a:pt x="2178599" y="20584"/>
                </a:lnTo>
                <a:lnTo>
                  <a:pt x="2155484" y="6863"/>
                </a:lnTo>
                <a:lnTo>
                  <a:pt x="2124985" y="1919"/>
                </a:lnTo>
                <a:close/>
              </a:path>
              <a:path w="4198620" h="229870">
                <a:moveTo>
                  <a:pt x="2187426" y="33132"/>
                </a:moveTo>
                <a:lnTo>
                  <a:pt x="2123065" y="33132"/>
                </a:lnTo>
                <a:lnTo>
                  <a:pt x="2139191" y="35570"/>
                </a:lnTo>
                <a:lnTo>
                  <a:pt x="2151772" y="42553"/>
                </a:lnTo>
                <a:lnTo>
                  <a:pt x="2159949" y="53587"/>
                </a:lnTo>
                <a:lnTo>
                  <a:pt x="2162866" y="68178"/>
                </a:lnTo>
                <a:lnTo>
                  <a:pt x="2159949" y="82976"/>
                </a:lnTo>
                <a:lnTo>
                  <a:pt x="2151772" y="93990"/>
                </a:lnTo>
                <a:lnTo>
                  <a:pt x="2139191" y="100861"/>
                </a:lnTo>
                <a:lnTo>
                  <a:pt x="2123065" y="103231"/>
                </a:lnTo>
                <a:lnTo>
                  <a:pt x="2186943" y="103231"/>
                </a:lnTo>
                <a:lnTo>
                  <a:pt x="2194747" y="89629"/>
                </a:lnTo>
                <a:lnTo>
                  <a:pt x="2198379" y="67698"/>
                </a:lnTo>
                <a:lnTo>
                  <a:pt x="2193255" y="41418"/>
                </a:lnTo>
                <a:lnTo>
                  <a:pt x="2187426" y="33132"/>
                </a:lnTo>
                <a:close/>
              </a:path>
              <a:path w="4198620" h="229870">
                <a:moveTo>
                  <a:pt x="1842732" y="2399"/>
                </a:moveTo>
                <a:lnTo>
                  <a:pt x="1807219" y="2399"/>
                </a:lnTo>
                <a:lnTo>
                  <a:pt x="1807219" y="151250"/>
                </a:lnTo>
                <a:lnTo>
                  <a:pt x="1813660" y="183127"/>
                </a:lnTo>
                <a:lnTo>
                  <a:pt x="1831391" y="207847"/>
                </a:lnTo>
                <a:lnTo>
                  <a:pt x="1858024" y="223835"/>
                </a:lnTo>
                <a:lnTo>
                  <a:pt x="1891172" y="229514"/>
                </a:lnTo>
                <a:lnTo>
                  <a:pt x="1924652" y="223835"/>
                </a:lnTo>
                <a:lnTo>
                  <a:pt x="1951457" y="207847"/>
                </a:lnTo>
                <a:lnTo>
                  <a:pt x="1957980" y="198784"/>
                </a:lnTo>
                <a:lnTo>
                  <a:pt x="1891172" y="198784"/>
                </a:lnTo>
                <a:lnTo>
                  <a:pt x="1871266" y="195386"/>
                </a:lnTo>
                <a:lnTo>
                  <a:pt x="1855986" y="185640"/>
                </a:lnTo>
                <a:lnTo>
                  <a:pt x="1846189" y="170223"/>
                </a:lnTo>
                <a:lnTo>
                  <a:pt x="1842733" y="149810"/>
                </a:lnTo>
                <a:lnTo>
                  <a:pt x="1842732" y="2399"/>
                </a:lnTo>
                <a:close/>
              </a:path>
              <a:path w="4198620" h="229870">
                <a:moveTo>
                  <a:pt x="1975700" y="2399"/>
                </a:moveTo>
                <a:lnTo>
                  <a:pt x="1940187" y="2399"/>
                </a:lnTo>
                <a:lnTo>
                  <a:pt x="1940187" y="149810"/>
                </a:lnTo>
                <a:lnTo>
                  <a:pt x="1936712" y="170223"/>
                </a:lnTo>
                <a:lnTo>
                  <a:pt x="1926837" y="185640"/>
                </a:lnTo>
                <a:lnTo>
                  <a:pt x="1911383" y="195386"/>
                </a:lnTo>
                <a:lnTo>
                  <a:pt x="1891172" y="198784"/>
                </a:lnTo>
                <a:lnTo>
                  <a:pt x="1957980" y="198784"/>
                </a:lnTo>
                <a:lnTo>
                  <a:pt x="1969250" y="183127"/>
                </a:lnTo>
                <a:lnTo>
                  <a:pt x="1975700" y="151250"/>
                </a:lnTo>
                <a:lnTo>
                  <a:pt x="1975700" y="2399"/>
                </a:lnTo>
                <a:close/>
              </a:path>
              <a:path w="4198620" h="229870">
                <a:moveTo>
                  <a:pt x="1618582" y="177177"/>
                </a:moveTo>
                <a:lnTo>
                  <a:pt x="1595034" y="199264"/>
                </a:lnTo>
                <a:lnTo>
                  <a:pt x="1612331" y="213309"/>
                </a:lnTo>
                <a:lnTo>
                  <a:pt x="1631523" y="222672"/>
                </a:lnTo>
                <a:lnTo>
                  <a:pt x="1653235" y="227893"/>
                </a:lnTo>
                <a:lnTo>
                  <a:pt x="1678091" y="229514"/>
                </a:lnTo>
                <a:lnTo>
                  <a:pt x="1711948" y="224982"/>
                </a:lnTo>
                <a:lnTo>
                  <a:pt x="1738744" y="211988"/>
                </a:lnTo>
                <a:lnTo>
                  <a:pt x="1750121" y="198784"/>
                </a:lnTo>
                <a:lnTo>
                  <a:pt x="1678539" y="198784"/>
                </a:lnTo>
                <a:lnTo>
                  <a:pt x="1661693" y="197704"/>
                </a:lnTo>
                <a:lnTo>
                  <a:pt x="1646233" y="194103"/>
                </a:lnTo>
                <a:lnTo>
                  <a:pt x="1631936" y="187440"/>
                </a:lnTo>
                <a:lnTo>
                  <a:pt x="1618582" y="177177"/>
                </a:lnTo>
                <a:close/>
              </a:path>
              <a:path w="4198620" h="229870">
                <a:moveTo>
                  <a:pt x="1681418" y="1439"/>
                </a:moveTo>
                <a:lnTo>
                  <a:pt x="1648469" y="6248"/>
                </a:lnTo>
                <a:lnTo>
                  <a:pt x="1623709" y="19744"/>
                </a:lnTo>
                <a:lnTo>
                  <a:pt x="1608127" y="40533"/>
                </a:lnTo>
                <a:lnTo>
                  <a:pt x="1602713" y="67218"/>
                </a:lnTo>
                <a:lnTo>
                  <a:pt x="1603792" y="80108"/>
                </a:lnTo>
                <a:lnTo>
                  <a:pt x="1628534" y="116243"/>
                </a:lnTo>
                <a:lnTo>
                  <a:pt x="1691976" y="131564"/>
                </a:lnTo>
                <a:lnTo>
                  <a:pt x="1701038" y="133131"/>
                </a:lnTo>
                <a:lnTo>
                  <a:pt x="1727042" y="164690"/>
                </a:lnTo>
                <a:lnTo>
                  <a:pt x="1723782" y="179134"/>
                </a:lnTo>
                <a:lnTo>
                  <a:pt x="1714308" y="189841"/>
                </a:lnTo>
                <a:lnTo>
                  <a:pt x="1699075" y="196496"/>
                </a:lnTo>
                <a:lnTo>
                  <a:pt x="1678539" y="198784"/>
                </a:lnTo>
                <a:lnTo>
                  <a:pt x="1750121" y="198784"/>
                </a:lnTo>
                <a:lnTo>
                  <a:pt x="1756457" y="191431"/>
                </a:lnTo>
                <a:lnTo>
                  <a:pt x="1763067" y="164210"/>
                </a:lnTo>
                <a:lnTo>
                  <a:pt x="1761884" y="150189"/>
                </a:lnTo>
                <a:lnTo>
                  <a:pt x="1735711" y="112252"/>
                </a:lnTo>
                <a:lnTo>
                  <a:pt x="1673292" y="97471"/>
                </a:lnTo>
                <a:lnTo>
                  <a:pt x="1665295" y="95956"/>
                </a:lnTo>
                <a:lnTo>
                  <a:pt x="1637778" y="66258"/>
                </a:lnTo>
                <a:lnTo>
                  <a:pt x="1640605" y="52477"/>
                </a:lnTo>
                <a:lnTo>
                  <a:pt x="1648872" y="41353"/>
                </a:lnTo>
                <a:lnTo>
                  <a:pt x="1662263" y="33920"/>
                </a:lnTo>
                <a:lnTo>
                  <a:pt x="1680458" y="31212"/>
                </a:lnTo>
                <a:lnTo>
                  <a:pt x="1749803" y="31212"/>
                </a:lnTo>
                <a:lnTo>
                  <a:pt x="1754429" y="26886"/>
                </a:lnTo>
                <a:lnTo>
                  <a:pt x="1738810" y="15212"/>
                </a:lnTo>
                <a:lnTo>
                  <a:pt x="1721859" y="7320"/>
                </a:lnTo>
                <a:lnTo>
                  <a:pt x="1702940" y="2849"/>
                </a:lnTo>
                <a:lnTo>
                  <a:pt x="1681418" y="1439"/>
                </a:lnTo>
                <a:close/>
              </a:path>
              <a:path w="4198620" h="229870">
                <a:moveTo>
                  <a:pt x="1749803" y="31212"/>
                </a:moveTo>
                <a:lnTo>
                  <a:pt x="1680458" y="31212"/>
                </a:lnTo>
                <a:lnTo>
                  <a:pt x="1694697" y="32022"/>
                </a:lnTo>
                <a:lnTo>
                  <a:pt x="1707885" y="34812"/>
                </a:lnTo>
                <a:lnTo>
                  <a:pt x="1720078" y="40122"/>
                </a:lnTo>
                <a:lnTo>
                  <a:pt x="1731329" y="48492"/>
                </a:lnTo>
                <a:lnTo>
                  <a:pt x="1749803" y="31212"/>
                </a:lnTo>
                <a:close/>
              </a:path>
              <a:path w="4198620" h="229870">
                <a:moveTo>
                  <a:pt x="1409276" y="2399"/>
                </a:moveTo>
                <a:lnTo>
                  <a:pt x="1376642" y="2399"/>
                </a:lnTo>
                <a:lnTo>
                  <a:pt x="1376642" y="227594"/>
                </a:lnTo>
                <a:lnTo>
                  <a:pt x="1412156" y="227594"/>
                </a:lnTo>
                <a:lnTo>
                  <a:pt x="1412156" y="69138"/>
                </a:lnTo>
                <a:lnTo>
                  <a:pt x="1455098" y="69138"/>
                </a:lnTo>
                <a:lnTo>
                  <a:pt x="1409276" y="2399"/>
                </a:lnTo>
                <a:close/>
              </a:path>
              <a:path w="4198620" h="229870">
                <a:moveTo>
                  <a:pt x="1455098" y="69138"/>
                </a:moveTo>
                <a:lnTo>
                  <a:pt x="1412156" y="69138"/>
                </a:lnTo>
                <a:lnTo>
                  <a:pt x="1520616" y="227594"/>
                </a:lnTo>
                <a:lnTo>
                  <a:pt x="1553250" y="227594"/>
                </a:lnTo>
                <a:lnTo>
                  <a:pt x="1553250" y="160370"/>
                </a:lnTo>
                <a:lnTo>
                  <a:pt x="1517736" y="160370"/>
                </a:lnTo>
                <a:lnTo>
                  <a:pt x="1455098" y="69138"/>
                </a:lnTo>
                <a:close/>
              </a:path>
              <a:path w="4198620" h="229870">
                <a:moveTo>
                  <a:pt x="1553250" y="2399"/>
                </a:moveTo>
                <a:lnTo>
                  <a:pt x="1517736" y="2399"/>
                </a:lnTo>
                <a:lnTo>
                  <a:pt x="1517736" y="160370"/>
                </a:lnTo>
                <a:lnTo>
                  <a:pt x="1553250" y="160370"/>
                </a:lnTo>
                <a:lnTo>
                  <a:pt x="1553250" y="2399"/>
                </a:lnTo>
                <a:close/>
              </a:path>
              <a:path w="4198620" h="229870">
                <a:moveTo>
                  <a:pt x="1314254" y="2399"/>
                </a:moveTo>
                <a:lnTo>
                  <a:pt x="1278740" y="2399"/>
                </a:lnTo>
                <a:lnTo>
                  <a:pt x="1278740" y="227594"/>
                </a:lnTo>
                <a:lnTo>
                  <a:pt x="1314254" y="227594"/>
                </a:lnTo>
                <a:lnTo>
                  <a:pt x="1314254" y="2399"/>
                </a:lnTo>
                <a:close/>
              </a:path>
              <a:path w="4198620" h="229870">
                <a:moveTo>
                  <a:pt x="1078585" y="2399"/>
                </a:moveTo>
                <a:lnTo>
                  <a:pt x="1049726" y="2399"/>
                </a:lnTo>
                <a:lnTo>
                  <a:pt x="963854" y="227594"/>
                </a:lnTo>
                <a:lnTo>
                  <a:pt x="1001735" y="227594"/>
                </a:lnTo>
                <a:lnTo>
                  <a:pt x="1018052" y="182458"/>
                </a:lnTo>
                <a:lnTo>
                  <a:pt x="1147246" y="182458"/>
                </a:lnTo>
                <a:lnTo>
                  <a:pt x="1135895" y="152690"/>
                </a:lnTo>
                <a:lnTo>
                  <a:pt x="1028162" y="152690"/>
                </a:lnTo>
                <a:lnTo>
                  <a:pt x="1065148" y="53298"/>
                </a:lnTo>
                <a:lnTo>
                  <a:pt x="1097994" y="53298"/>
                </a:lnTo>
                <a:lnTo>
                  <a:pt x="1078585" y="2399"/>
                </a:lnTo>
                <a:close/>
              </a:path>
              <a:path w="4198620" h="229870">
                <a:moveTo>
                  <a:pt x="1147246" y="182458"/>
                </a:moveTo>
                <a:lnTo>
                  <a:pt x="1110707" y="182458"/>
                </a:lnTo>
                <a:lnTo>
                  <a:pt x="1126576" y="227594"/>
                </a:lnTo>
                <a:lnTo>
                  <a:pt x="1164457" y="227594"/>
                </a:lnTo>
                <a:lnTo>
                  <a:pt x="1147246" y="182458"/>
                </a:lnTo>
                <a:close/>
              </a:path>
              <a:path w="4198620" h="229870">
                <a:moveTo>
                  <a:pt x="1097994" y="53298"/>
                </a:moveTo>
                <a:lnTo>
                  <a:pt x="1065148" y="53298"/>
                </a:lnTo>
                <a:lnTo>
                  <a:pt x="1100661" y="152690"/>
                </a:lnTo>
                <a:lnTo>
                  <a:pt x="1135895" y="152690"/>
                </a:lnTo>
                <a:lnTo>
                  <a:pt x="1097994" y="53298"/>
                </a:lnTo>
                <a:close/>
              </a:path>
              <a:path w="4198620" h="229870">
                <a:moveTo>
                  <a:pt x="785263" y="2399"/>
                </a:moveTo>
                <a:lnTo>
                  <a:pt x="752629" y="2399"/>
                </a:lnTo>
                <a:lnTo>
                  <a:pt x="752629" y="227594"/>
                </a:lnTo>
                <a:lnTo>
                  <a:pt x="788143" y="227594"/>
                </a:lnTo>
                <a:lnTo>
                  <a:pt x="788143" y="69138"/>
                </a:lnTo>
                <a:lnTo>
                  <a:pt x="831112" y="69138"/>
                </a:lnTo>
                <a:lnTo>
                  <a:pt x="785263" y="2399"/>
                </a:lnTo>
                <a:close/>
              </a:path>
              <a:path w="4198620" h="229870">
                <a:moveTo>
                  <a:pt x="831112" y="69138"/>
                </a:moveTo>
                <a:lnTo>
                  <a:pt x="788143" y="69138"/>
                </a:lnTo>
                <a:lnTo>
                  <a:pt x="896667" y="227594"/>
                </a:lnTo>
                <a:lnTo>
                  <a:pt x="929301" y="227594"/>
                </a:lnTo>
                <a:lnTo>
                  <a:pt x="929301" y="160370"/>
                </a:lnTo>
                <a:lnTo>
                  <a:pt x="893787" y="160370"/>
                </a:lnTo>
                <a:lnTo>
                  <a:pt x="831112" y="69138"/>
                </a:lnTo>
                <a:close/>
              </a:path>
              <a:path w="4198620" h="229870">
                <a:moveTo>
                  <a:pt x="929301" y="2399"/>
                </a:moveTo>
                <a:lnTo>
                  <a:pt x="893787" y="2399"/>
                </a:lnTo>
                <a:lnTo>
                  <a:pt x="893787" y="160370"/>
                </a:lnTo>
                <a:lnTo>
                  <a:pt x="929301" y="160370"/>
                </a:lnTo>
                <a:lnTo>
                  <a:pt x="929301" y="2399"/>
                </a:lnTo>
                <a:close/>
              </a:path>
              <a:path w="4198620" h="229870">
                <a:moveTo>
                  <a:pt x="546241" y="2399"/>
                </a:moveTo>
                <a:lnTo>
                  <a:pt x="513121" y="2399"/>
                </a:lnTo>
                <a:lnTo>
                  <a:pt x="513121" y="227594"/>
                </a:lnTo>
                <a:lnTo>
                  <a:pt x="549121" y="227594"/>
                </a:lnTo>
                <a:lnTo>
                  <a:pt x="549121" y="69138"/>
                </a:lnTo>
                <a:lnTo>
                  <a:pt x="592074" y="69138"/>
                </a:lnTo>
                <a:lnTo>
                  <a:pt x="546241" y="2399"/>
                </a:lnTo>
                <a:close/>
              </a:path>
              <a:path w="4198620" h="229870">
                <a:moveTo>
                  <a:pt x="592074" y="69138"/>
                </a:moveTo>
                <a:lnTo>
                  <a:pt x="549121" y="69138"/>
                </a:lnTo>
                <a:lnTo>
                  <a:pt x="657607" y="227594"/>
                </a:lnTo>
                <a:lnTo>
                  <a:pt x="690241" y="227594"/>
                </a:lnTo>
                <a:lnTo>
                  <a:pt x="690241" y="160370"/>
                </a:lnTo>
                <a:lnTo>
                  <a:pt x="654727" y="160370"/>
                </a:lnTo>
                <a:lnTo>
                  <a:pt x="592074" y="69138"/>
                </a:lnTo>
                <a:close/>
              </a:path>
              <a:path w="4198620" h="229870">
                <a:moveTo>
                  <a:pt x="690241" y="2399"/>
                </a:moveTo>
                <a:lnTo>
                  <a:pt x="654727" y="2399"/>
                </a:lnTo>
                <a:lnTo>
                  <a:pt x="654727" y="160370"/>
                </a:lnTo>
                <a:lnTo>
                  <a:pt x="690241" y="160370"/>
                </a:lnTo>
                <a:lnTo>
                  <a:pt x="690241" y="2399"/>
                </a:lnTo>
                <a:close/>
              </a:path>
              <a:path w="4198620" h="229870">
                <a:moveTo>
                  <a:pt x="463677" y="2399"/>
                </a:moveTo>
                <a:lnTo>
                  <a:pt x="313919" y="2399"/>
                </a:lnTo>
                <a:lnTo>
                  <a:pt x="313919" y="227113"/>
                </a:lnTo>
                <a:lnTo>
                  <a:pt x="463198" y="227113"/>
                </a:lnTo>
                <a:lnTo>
                  <a:pt x="463198" y="196383"/>
                </a:lnTo>
                <a:lnTo>
                  <a:pt x="348959" y="196383"/>
                </a:lnTo>
                <a:lnTo>
                  <a:pt x="348959" y="128684"/>
                </a:lnTo>
                <a:lnTo>
                  <a:pt x="446881" y="128684"/>
                </a:lnTo>
                <a:lnTo>
                  <a:pt x="446881" y="98431"/>
                </a:lnTo>
                <a:lnTo>
                  <a:pt x="348959" y="98431"/>
                </a:lnTo>
                <a:lnTo>
                  <a:pt x="348959" y="33132"/>
                </a:lnTo>
                <a:lnTo>
                  <a:pt x="463677" y="33132"/>
                </a:lnTo>
                <a:lnTo>
                  <a:pt x="463677" y="2399"/>
                </a:lnTo>
                <a:close/>
              </a:path>
              <a:path w="4198620" h="229870">
                <a:moveTo>
                  <a:pt x="251518" y="2399"/>
                </a:moveTo>
                <a:lnTo>
                  <a:pt x="215998" y="2399"/>
                </a:lnTo>
                <a:lnTo>
                  <a:pt x="215998" y="227594"/>
                </a:lnTo>
                <a:lnTo>
                  <a:pt x="251518" y="227594"/>
                </a:lnTo>
                <a:lnTo>
                  <a:pt x="251518" y="2399"/>
                </a:lnTo>
                <a:close/>
              </a:path>
              <a:path w="4198620" h="229870">
                <a:moveTo>
                  <a:pt x="36479" y="2399"/>
                </a:moveTo>
                <a:lnTo>
                  <a:pt x="0" y="2399"/>
                </a:lnTo>
                <a:lnTo>
                  <a:pt x="76798" y="227594"/>
                </a:lnTo>
                <a:lnTo>
                  <a:pt x="104640" y="227594"/>
                </a:lnTo>
                <a:lnTo>
                  <a:pt x="125863" y="166130"/>
                </a:lnTo>
                <a:lnTo>
                  <a:pt x="90722" y="166130"/>
                </a:lnTo>
                <a:lnTo>
                  <a:pt x="36479" y="2399"/>
                </a:lnTo>
                <a:close/>
              </a:path>
              <a:path w="4198620" h="229870">
                <a:moveTo>
                  <a:pt x="182398" y="2399"/>
                </a:moveTo>
                <a:lnTo>
                  <a:pt x="144479" y="2399"/>
                </a:lnTo>
                <a:lnTo>
                  <a:pt x="90722" y="166130"/>
                </a:lnTo>
                <a:lnTo>
                  <a:pt x="125863" y="166130"/>
                </a:lnTo>
                <a:lnTo>
                  <a:pt x="182398" y="239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5729096" y="5095443"/>
            <a:ext cx="735965" cy="137223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ts val="5305"/>
              </a:lnSpc>
              <a:spcBef>
                <a:spcPts val="95"/>
              </a:spcBef>
            </a:pPr>
            <a:r>
              <a:rPr sz="5200" spc="-10" dirty="0">
                <a:solidFill>
                  <a:srgbClr val="FF0004"/>
                </a:solidFill>
                <a:latin typeface="Ebrima"/>
                <a:cs typeface="Ebrima"/>
              </a:rPr>
              <a:t>20</a:t>
            </a:r>
            <a:endParaRPr sz="5200" dirty="0">
              <a:latin typeface="Ebrima"/>
              <a:cs typeface="Ebrima"/>
            </a:endParaRPr>
          </a:p>
          <a:p>
            <a:pPr marL="12700">
              <a:lnSpc>
                <a:spcPts val="5305"/>
              </a:lnSpc>
            </a:pPr>
            <a:r>
              <a:rPr sz="5200" spc="-15" dirty="0">
                <a:solidFill>
                  <a:srgbClr val="FF0004"/>
                </a:solidFill>
                <a:latin typeface="Ebrima"/>
                <a:cs typeface="Ebrima"/>
              </a:rPr>
              <a:t>2</a:t>
            </a:r>
            <a:r>
              <a:rPr lang="en-US" sz="5200" spc="-15" dirty="0">
                <a:solidFill>
                  <a:srgbClr val="FF0004"/>
                </a:solidFill>
                <a:latin typeface="Ebrima"/>
                <a:cs typeface="Ebrima"/>
              </a:rPr>
              <a:t>2</a:t>
            </a:r>
            <a:endParaRPr sz="5200" dirty="0">
              <a:latin typeface="Ebrima"/>
              <a:cs typeface="Ebrima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9113048" y="34"/>
            <a:ext cx="3079115" cy="6858634"/>
            <a:chOff x="9113048" y="34"/>
            <a:chExt cx="3079115" cy="6858634"/>
          </a:xfrm>
        </p:grpSpPr>
        <p:sp>
          <p:nvSpPr>
            <p:cNvPr id="9" name="object 9"/>
            <p:cNvSpPr/>
            <p:nvPr/>
          </p:nvSpPr>
          <p:spPr>
            <a:xfrm>
              <a:off x="9113048" y="34"/>
              <a:ext cx="3079115" cy="6849745"/>
            </a:xfrm>
            <a:custGeom>
              <a:avLst/>
              <a:gdLst/>
              <a:ahLst/>
              <a:cxnLst/>
              <a:rect l="l" t="t" r="r" b="b"/>
              <a:pathLst>
                <a:path w="3079115" h="6849745">
                  <a:moveTo>
                    <a:pt x="3078918" y="0"/>
                  </a:moveTo>
                  <a:lnTo>
                    <a:pt x="0" y="0"/>
                  </a:lnTo>
                  <a:lnTo>
                    <a:pt x="47281" y="44751"/>
                  </a:lnTo>
                  <a:lnTo>
                    <a:pt x="94919" y="90836"/>
                  </a:lnTo>
                  <a:lnTo>
                    <a:pt x="141865" y="137253"/>
                  </a:lnTo>
                  <a:lnTo>
                    <a:pt x="188125" y="183993"/>
                  </a:lnTo>
                  <a:lnTo>
                    <a:pt x="233704" y="231049"/>
                  </a:lnTo>
                  <a:lnTo>
                    <a:pt x="278606" y="278414"/>
                  </a:lnTo>
                  <a:lnTo>
                    <a:pt x="322836" y="326081"/>
                  </a:lnTo>
                  <a:lnTo>
                    <a:pt x="366399" y="374043"/>
                  </a:lnTo>
                  <a:lnTo>
                    <a:pt x="409300" y="422293"/>
                  </a:lnTo>
                  <a:lnTo>
                    <a:pt x="451544" y="470822"/>
                  </a:lnTo>
                  <a:lnTo>
                    <a:pt x="493135" y="519626"/>
                  </a:lnTo>
                  <a:lnTo>
                    <a:pt x="534080" y="568695"/>
                  </a:lnTo>
                  <a:lnTo>
                    <a:pt x="574381" y="618023"/>
                  </a:lnTo>
                  <a:lnTo>
                    <a:pt x="614045" y="667602"/>
                  </a:lnTo>
                  <a:lnTo>
                    <a:pt x="653077" y="717426"/>
                  </a:lnTo>
                  <a:lnTo>
                    <a:pt x="691480" y="767488"/>
                  </a:lnTo>
                  <a:lnTo>
                    <a:pt x="729260" y="817779"/>
                  </a:lnTo>
                  <a:lnTo>
                    <a:pt x="766422" y="868293"/>
                  </a:lnTo>
                  <a:lnTo>
                    <a:pt x="802971" y="919023"/>
                  </a:lnTo>
                  <a:lnTo>
                    <a:pt x="838912" y="969962"/>
                  </a:lnTo>
                  <a:lnTo>
                    <a:pt x="874248" y="1021102"/>
                  </a:lnTo>
                  <a:lnTo>
                    <a:pt x="908987" y="1072436"/>
                  </a:lnTo>
                  <a:lnTo>
                    <a:pt x="943131" y="1123957"/>
                  </a:lnTo>
                  <a:lnTo>
                    <a:pt x="976686" y="1175658"/>
                  </a:lnTo>
                  <a:lnTo>
                    <a:pt x="1009658" y="1227531"/>
                  </a:lnTo>
                  <a:lnTo>
                    <a:pt x="1042050" y="1279570"/>
                  </a:lnTo>
                  <a:lnTo>
                    <a:pt x="1073868" y="1331767"/>
                  </a:lnTo>
                  <a:lnTo>
                    <a:pt x="1105116" y="1384115"/>
                  </a:lnTo>
                  <a:lnTo>
                    <a:pt x="1135800" y="1436607"/>
                  </a:lnTo>
                  <a:lnTo>
                    <a:pt x="1165925" y="1489235"/>
                  </a:lnTo>
                  <a:lnTo>
                    <a:pt x="1195494" y="1541994"/>
                  </a:lnTo>
                  <a:lnTo>
                    <a:pt x="1224514" y="1594874"/>
                  </a:lnTo>
                  <a:lnTo>
                    <a:pt x="1252988" y="1647869"/>
                  </a:lnTo>
                  <a:lnTo>
                    <a:pt x="1280923" y="1700973"/>
                  </a:lnTo>
                  <a:lnTo>
                    <a:pt x="1308322" y="1754177"/>
                  </a:lnTo>
                  <a:lnTo>
                    <a:pt x="1335190" y="1807475"/>
                  </a:lnTo>
                  <a:lnTo>
                    <a:pt x="1361533" y="1860859"/>
                  </a:lnTo>
                  <a:lnTo>
                    <a:pt x="1387356" y="1914322"/>
                  </a:lnTo>
                  <a:lnTo>
                    <a:pt x="1412662" y="1967857"/>
                  </a:lnTo>
                  <a:lnTo>
                    <a:pt x="1437458" y="2021457"/>
                  </a:lnTo>
                  <a:lnTo>
                    <a:pt x="1461748" y="2075115"/>
                  </a:lnTo>
                  <a:lnTo>
                    <a:pt x="1485536" y="2128823"/>
                  </a:lnTo>
                  <a:lnTo>
                    <a:pt x="1508828" y="2182574"/>
                  </a:lnTo>
                  <a:lnTo>
                    <a:pt x="1531629" y="2236362"/>
                  </a:lnTo>
                  <a:lnTo>
                    <a:pt x="1553943" y="2290178"/>
                  </a:lnTo>
                  <a:lnTo>
                    <a:pt x="1575776" y="2344016"/>
                  </a:lnTo>
                  <a:lnTo>
                    <a:pt x="1597132" y="2397869"/>
                  </a:lnTo>
                  <a:lnTo>
                    <a:pt x="1618015" y="2451729"/>
                  </a:lnTo>
                  <a:lnTo>
                    <a:pt x="1638432" y="2505589"/>
                  </a:lnTo>
                  <a:lnTo>
                    <a:pt x="1658387" y="2559442"/>
                  </a:lnTo>
                  <a:lnTo>
                    <a:pt x="1677884" y="2613280"/>
                  </a:lnTo>
                  <a:lnTo>
                    <a:pt x="1696929" y="2667098"/>
                  </a:lnTo>
                  <a:lnTo>
                    <a:pt x="1715526" y="2720886"/>
                  </a:lnTo>
                  <a:lnTo>
                    <a:pt x="1733681" y="2774639"/>
                  </a:lnTo>
                  <a:lnTo>
                    <a:pt x="1751397" y="2828349"/>
                  </a:lnTo>
                  <a:lnTo>
                    <a:pt x="1768681" y="2882009"/>
                  </a:lnTo>
                  <a:lnTo>
                    <a:pt x="1785537" y="2935611"/>
                  </a:lnTo>
                  <a:lnTo>
                    <a:pt x="1801970" y="2989149"/>
                  </a:lnTo>
                  <a:lnTo>
                    <a:pt x="1817984" y="3042615"/>
                  </a:lnTo>
                  <a:lnTo>
                    <a:pt x="1833585" y="3096002"/>
                  </a:lnTo>
                  <a:lnTo>
                    <a:pt x="1848777" y="3149303"/>
                  </a:lnTo>
                  <a:lnTo>
                    <a:pt x="1863566" y="3202511"/>
                  </a:lnTo>
                  <a:lnTo>
                    <a:pt x="1877956" y="3255619"/>
                  </a:lnTo>
                  <a:lnTo>
                    <a:pt x="1891952" y="3308618"/>
                  </a:lnTo>
                  <a:lnTo>
                    <a:pt x="1905559" y="3361503"/>
                  </a:lnTo>
                  <a:lnTo>
                    <a:pt x="1918782" y="3414266"/>
                  </a:lnTo>
                  <a:lnTo>
                    <a:pt x="1931625" y="3466900"/>
                  </a:lnTo>
                  <a:lnTo>
                    <a:pt x="1944094" y="3519397"/>
                  </a:lnTo>
                  <a:lnTo>
                    <a:pt x="1956193" y="3571751"/>
                  </a:lnTo>
                  <a:lnTo>
                    <a:pt x="1967928" y="3623954"/>
                  </a:lnTo>
                  <a:lnTo>
                    <a:pt x="1979303" y="3675999"/>
                  </a:lnTo>
                  <a:lnTo>
                    <a:pt x="1990323" y="3727878"/>
                  </a:lnTo>
                  <a:lnTo>
                    <a:pt x="2000993" y="3779586"/>
                  </a:lnTo>
                  <a:lnTo>
                    <a:pt x="2011318" y="3831114"/>
                  </a:lnTo>
                  <a:lnTo>
                    <a:pt x="2021302" y="3882455"/>
                  </a:lnTo>
                  <a:lnTo>
                    <a:pt x="2030951" y="3933602"/>
                  </a:lnTo>
                  <a:lnTo>
                    <a:pt x="2040270" y="3984549"/>
                  </a:lnTo>
                  <a:lnTo>
                    <a:pt x="2049263" y="4035287"/>
                  </a:lnTo>
                  <a:lnTo>
                    <a:pt x="2057935" y="4085810"/>
                  </a:lnTo>
                  <a:lnTo>
                    <a:pt x="2066291" y="4136110"/>
                  </a:lnTo>
                  <a:lnTo>
                    <a:pt x="2074336" y="4186180"/>
                  </a:lnTo>
                  <a:lnTo>
                    <a:pt x="2082075" y="4236013"/>
                  </a:lnTo>
                  <a:lnTo>
                    <a:pt x="2089512" y="4285602"/>
                  </a:lnTo>
                  <a:lnTo>
                    <a:pt x="2096653" y="4334940"/>
                  </a:lnTo>
                  <a:lnTo>
                    <a:pt x="2103503" y="4384019"/>
                  </a:lnTo>
                  <a:lnTo>
                    <a:pt x="2110066" y="4432832"/>
                  </a:lnTo>
                  <a:lnTo>
                    <a:pt x="2116347" y="4481372"/>
                  </a:lnTo>
                  <a:lnTo>
                    <a:pt x="2122351" y="4529633"/>
                  </a:lnTo>
                  <a:lnTo>
                    <a:pt x="2128083" y="4577606"/>
                  </a:lnTo>
                  <a:lnTo>
                    <a:pt x="2133548" y="4625284"/>
                  </a:lnTo>
                  <a:lnTo>
                    <a:pt x="2138750" y="4672661"/>
                  </a:lnTo>
                  <a:lnTo>
                    <a:pt x="2143695" y="4719729"/>
                  </a:lnTo>
                  <a:lnTo>
                    <a:pt x="2148388" y="4766481"/>
                  </a:lnTo>
                  <a:lnTo>
                    <a:pt x="2152833" y="4812910"/>
                  </a:lnTo>
                  <a:lnTo>
                    <a:pt x="2157035" y="4859008"/>
                  </a:lnTo>
                  <a:lnTo>
                    <a:pt x="2160999" y="4904769"/>
                  </a:lnTo>
                  <a:lnTo>
                    <a:pt x="2164730" y="4950185"/>
                  </a:lnTo>
                  <a:lnTo>
                    <a:pt x="2168233" y="4995249"/>
                  </a:lnTo>
                  <a:lnTo>
                    <a:pt x="2171513" y="5039954"/>
                  </a:lnTo>
                  <a:lnTo>
                    <a:pt x="2174574" y="5084292"/>
                  </a:lnTo>
                  <a:lnTo>
                    <a:pt x="2177421" y="5128257"/>
                  </a:lnTo>
                  <a:lnTo>
                    <a:pt x="2180060" y="5171841"/>
                  </a:lnTo>
                  <a:lnTo>
                    <a:pt x="2182495" y="5215037"/>
                  </a:lnTo>
                  <a:lnTo>
                    <a:pt x="2184732" y="5257839"/>
                  </a:lnTo>
                  <a:lnTo>
                    <a:pt x="2186774" y="5300238"/>
                  </a:lnTo>
                  <a:lnTo>
                    <a:pt x="2188627" y="5342227"/>
                  </a:lnTo>
                  <a:lnTo>
                    <a:pt x="2190295" y="5383800"/>
                  </a:lnTo>
                  <a:lnTo>
                    <a:pt x="2191784" y="5424949"/>
                  </a:lnTo>
                  <a:lnTo>
                    <a:pt x="2193099" y="5465667"/>
                  </a:lnTo>
                  <a:lnTo>
                    <a:pt x="2194244" y="5505947"/>
                  </a:lnTo>
                  <a:lnTo>
                    <a:pt x="2195296" y="5549243"/>
                  </a:lnTo>
                  <a:lnTo>
                    <a:pt x="2196709" y="5624085"/>
                  </a:lnTo>
                  <a:lnTo>
                    <a:pt x="2197224" y="5662540"/>
                  </a:lnTo>
                  <a:lnTo>
                    <a:pt x="2197801" y="5734543"/>
                  </a:lnTo>
                  <a:lnTo>
                    <a:pt x="2197842" y="5819854"/>
                  </a:lnTo>
                  <a:lnTo>
                    <a:pt x="2197716" y="5847560"/>
                  </a:lnTo>
                  <a:lnTo>
                    <a:pt x="2197033" y="5918048"/>
                  </a:lnTo>
                  <a:lnTo>
                    <a:pt x="2195840" y="5989387"/>
                  </a:lnTo>
                  <a:lnTo>
                    <a:pt x="2194370" y="6052673"/>
                  </a:lnTo>
                  <a:lnTo>
                    <a:pt x="2192469" y="6116695"/>
                  </a:lnTo>
                  <a:lnTo>
                    <a:pt x="2190240" y="6178447"/>
                  </a:lnTo>
                  <a:lnTo>
                    <a:pt x="2187722" y="6237871"/>
                  </a:lnTo>
                  <a:lnTo>
                    <a:pt x="2184955" y="6294910"/>
                  </a:lnTo>
                  <a:lnTo>
                    <a:pt x="2181977" y="6349507"/>
                  </a:lnTo>
                  <a:lnTo>
                    <a:pt x="2178827" y="6401603"/>
                  </a:lnTo>
                  <a:lnTo>
                    <a:pt x="2175544" y="6451142"/>
                  </a:lnTo>
                  <a:lnTo>
                    <a:pt x="2172168" y="6498065"/>
                  </a:lnTo>
                  <a:lnTo>
                    <a:pt x="2168736" y="6542316"/>
                  </a:lnTo>
                  <a:lnTo>
                    <a:pt x="2165289" y="6583837"/>
                  </a:lnTo>
                  <a:lnTo>
                    <a:pt x="2161866" y="6622570"/>
                  </a:lnTo>
                  <a:lnTo>
                    <a:pt x="2156859" y="6675318"/>
                  </a:lnTo>
                  <a:lnTo>
                    <a:pt x="2152123" y="6721470"/>
                  </a:lnTo>
                  <a:lnTo>
                    <a:pt x="2144726" y="6785537"/>
                  </a:lnTo>
                  <a:lnTo>
                    <a:pt x="2138404" y="6834804"/>
                  </a:lnTo>
                  <a:lnTo>
                    <a:pt x="2136752" y="6846637"/>
                  </a:lnTo>
                  <a:lnTo>
                    <a:pt x="2136752" y="6848630"/>
                  </a:lnTo>
                  <a:lnTo>
                    <a:pt x="2136220" y="6849129"/>
                  </a:lnTo>
                  <a:lnTo>
                    <a:pt x="2136752" y="6849129"/>
                  </a:lnTo>
                  <a:lnTo>
                    <a:pt x="2137217" y="6848630"/>
                  </a:lnTo>
                  <a:lnTo>
                    <a:pt x="2137749" y="6848133"/>
                  </a:lnTo>
                  <a:lnTo>
                    <a:pt x="2173651" y="6808687"/>
                  </a:lnTo>
                  <a:lnTo>
                    <a:pt x="2209109" y="6769076"/>
                  </a:lnTo>
                  <a:lnTo>
                    <a:pt x="2244124" y="6729303"/>
                  </a:lnTo>
                  <a:lnTo>
                    <a:pt x="2278699" y="6689373"/>
                  </a:lnTo>
                  <a:lnTo>
                    <a:pt x="2312836" y="6649287"/>
                  </a:lnTo>
                  <a:lnTo>
                    <a:pt x="2346537" y="6609049"/>
                  </a:lnTo>
                  <a:lnTo>
                    <a:pt x="2379806" y="6568662"/>
                  </a:lnTo>
                  <a:lnTo>
                    <a:pt x="2412645" y="6528129"/>
                  </a:lnTo>
                  <a:lnTo>
                    <a:pt x="2445055" y="6487454"/>
                  </a:lnTo>
                  <a:lnTo>
                    <a:pt x="2477040" y="6446639"/>
                  </a:lnTo>
                  <a:lnTo>
                    <a:pt x="2508602" y="6405688"/>
                  </a:lnTo>
                  <a:lnTo>
                    <a:pt x="2539744" y="6364604"/>
                  </a:lnTo>
                  <a:lnTo>
                    <a:pt x="2570467" y="6323391"/>
                  </a:lnTo>
                  <a:lnTo>
                    <a:pt x="2600775" y="6282050"/>
                  </a:lnTo>
                  <a:lnTo>
                    <a:pt x="2630669" y="6240586"/>
                  </a:lnTo>
                  <a:lnTo>
                    <a:pt x="2660153" y="6199002"/>
                  </a:lnTo>
                  <a:lnTo>
                    <a:pt x="2689228" y="6157301"/>
                  </a:lnTo>
                  <a:lnTo>
                    <a:pt x="2717898" y="6115486"/>
                  </a:lnTo>
                  <a:lnTo>
                    <a:pt x="2746164" y="6073559"/>
                  </a:lnTo>
                  <a:lnTo>
                    <a:pt x="2774029" y="6031526"/>
                  </a:lnTo>
                  <a:lnTo>
                    <a:pt x="2801496" y="5989387"/>
                  </a:lnTo>
                  <a:lnTo>
                    <a:pt x="2828566" y="5947148"/>
                  </a:lnTo>
                  <a:lnTo>
                    <a:pt x="2855243" y="5904810"/>
                  </a:lnTo>
                  <a:lnTo>
                    <a:pt x="2881529" y="5862378"/>
                  </a:lnTo>
                  <a:lnTo>
                    <a:pt x="2907426" y="5819854"/>
                  </a:lnTo>
                  <a:lnTo>
                    <a:pt x="2932937" y="5777241"/>
                  </a:lnTo>
                  <a:lnTo>
                    <a:pt x="2958064" y="5734543"/>
                  </a:lnTo>
                  <a:lnTo>
                    <a:pt x="2993639" y="5672929"/>
                  </a:lnTo>
                  <a:lnTo>
                    <a:pt x="3028437" y="5611159"/>
                  </a:lnTo>
                  <a:lnTo>
                    <a:pt x="3062467" y="5549243"/>
                  </a:lnTo>
                  <a:lnTo>
                    <a:pt x="3078918" y="5518560"/>
                  </a:lnTo>
                  <a:lnTo>
                    <a:pt x="3078918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9826081" y="4477445"/>
              <a:ext cx="1391285" cy="2381250"/>
            </a:xfrm>
            <a:custGeom>
              <a:avLst/>
              <a:gdLst/>
              <a:ahLst/>
              <a:cxnLst/>
              <a:rect l="l" t="t" r="r" b="b"/>
              <a:pathLst>
                <a:path w="1391284" h="2381250">
                  <a:moveTo>
                    <a:pt x="1306055" y="0"/>
                  </a:moveTo>
                  <a:lnTo>
                    <a:pt x="1285915" y="57692"/>
                  </a:lnTo>
                  <a:lnTo>
                    <a:pt x="1272754" y="93649"/>
                  </a:lnTo>
                  <a:lnTo>
                    <a:pt x="1256218" y="137638"/>
                  </a:lnTo>
                  <a:lnTo>
                    <a:pt x="1236265" y="189317"/>
                  </a:lnTo>
                  <a:lnTo>
                    <a:pt x="1212848" y="248346"/>
                  </a:lnTo>
                  <a:lnTo>
                    <a:pt x="1185923" y="314385"/>
                  </a:lnTo>
                  <a:lnTo>
                    <a:pt x="1171131" y="349926"/>
                  </a:lnTo>
                  <a:lnTo>
                    <a:pt x="1155445" y="387092"/>
                  </a:lnTo>
                  <a:lnTo>
                    <a:pt x="1138860" y="425840"/>
                  </a:lnTo>
                  <a:lnTo>
                    <a:pt x="1121371" y="466128"/>
                  </a:lnTo>
                  <a:lnTo>
                    <a:pt x="1102970" y="507912"/>
                  </a:lnTo>
                  <a:lnTo>
                    <a:pt x="1083654" y="551151"/>
                  </a:lnTo>
                  <a:lnTo>
                    <a:pt x="1063416" y="595802"/>
                  </a:lnTo>
                  <a:lnTo>
                    <a:pt x="1042251" y="641822"/>
                  </a:lnTo>
                  <a:lnTo>
                    <a:pt x="1020153" y="689168"/>
                  </a:lnTo>
                  <a:lnTo>
                    <a:pt x="997116" y="737799"/>
                  </a:lnTo>
                  <a:lnTo>
                    <a:pt x="973135" y="787671"/>
                  </a:lnTo>
                  <a:lnTo>
                    <a:pt x="948205" y="838742"/>
                  </a:lnTo>
                  <a:lnTo>
                    <a:pt x="922320" y="890970"/>
                  </a:lnTo>
                  <a:lnTo>
                    <a:pt x="895474" y="944312"/>
                  </a:lnTo>
                  <a:lnTo>
                    <a:pt x="867662" y="998724"/>
                  </a:lnTo>
                  <a:lnTo>
                    <a:pt x="838877" y="1054166"/>
                  </a:lnTo>
                  <a:lnTo>
                    <a:pt x="809115" y="1110594"/>
                  </a:lnTo>
                  <a:lnTo>
                    <a:pt x="778370" y="1167965"/>
                  </a:lnTo>
                  <a:lnTo>
                    <a:pt x="746637" y="1226237"/>
                  </a:lnTo>
                  <a:lnTo>
                    <a:pt x="713909" y="1285368"/>
                  </a:lnTo>
                  <a:lnTo>
                    <a:pt x="680181" y="1345314"/>
                  </a:lnTo>
                  <a:lnTo>
                    <a:pt x="645448" y="1406034"/>
                  </a:lnTo>
                  <a:lnTo>
                    <a:pt x="609704" y="1467485"/>
                  </a:lnTo>
                  <a:lnTo>
                    <a:pt x="572943" y="1529624"/>
                  </a:lnTo>
                  <a:lnTo>
                    <a:pt x="535160" y="1592408"/>
                  </a:lnTo>
                  <a:lnTo>
                    <a:pt x="496349" y="1655796"/>
                  </a:lnTo>
                  <a:lnTo>
                    <a:pt x="456505" y="1719744"/>
                  </a:lnTo>
                  <a:lnTo>
                    <a:pt x="415622" y="1784210"/>
                  </a:lnTo>
                  <a:lnTo>
                    <a:pt x="373694" y="1849151"/>
                  </a:lnTo>
                  <a:lnTo>
                    <a:pt x="330716" y="1914525"/>
                  </a:lnTo>
                  <a:lnTo>
                    <a:pt x="286683" y="1980289"/>
                  </a:lnTo>
                  <a:lnTo>
                    <a:pt x="241588" y="2046401"/>
                  </a:lnTo>
                  <a:lnTo>
                    <a:pt x="195427" y="2112818"/>
                  </a:lnTo>
                  <a:lnTo>
                    <a:pt x="148192" y="2179498"/>
                  </a:lnTo>
                  <a:lnTo>
                    <a:pt x="99880" y="2246397"/>
                  </a:lnTo>
                  <a:lnTo>
                    <a:pt x="50485" y="2313474"/>
                  </a:lnTo>
                  <a:lnTo>
                    <a:pt x="0" y="2380686"/>
                  </a:lnTo>
                  <a:lnTo>
                    <a:pt x="1335438" y="2380686"/>
                  </a:lnTo>
                  <a:lnTo>
                    <a:pt x="1357068" y="2199984"/>
                  </a:lnTo>
                  <a:lnTo>
                    <a:pt x="1390671" y="1700425"/>
                  </a:lnTo>
                  <a:lnTo>
                    <a:pt x="1389311" y="945825"/>
                  </a:lnTo>
                  <a:lnTo>
                    <a:pt x="1306055" y="0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1" name="object 11"/>
          <p:cNvGrpSpPr/>
          <p:nvPr/>
        </p:nvGrpSpPr>
        <p:grpSpPr>
          <a:xfrm>
            <a:off x="0" y="0"/>
            <a:ext cx="3203575" cy="6854190"/>
            <a:chOff x="0" y="0"/>
            <a:chExt cx="3203575" cy="6854190"/>
          </a:xfrm>
        </p:grpSpPr>
        <p:sp>
          <p:nvSpPr>
            <p:cNvPr id="12" name="object 12"/>
            <p:cNvSpPr/>
            <p:nvPr/>
          </p:nvSpPr>
          <p:spPr>
            <a:xfrm>
              <a:off x="0" y="8835"/>
              <a:ext cx="3203575" cy="6845300"/>
            </a:xfrm>
            <a:custGeom>
              <a:avLst/>
              <a:gdLst/>
              <a:ahLst/>
              <a:cxnLst/>
              <a:rect l="l" t="t" r="r" b="b"/>
              <a:pathLst>
                <a:path w="3203575" h="6845300">
                  <a:moveTo>
                    <a:pt x="0" y="1625599"/>
                  </a:moveTo>
                  <a:lnTo>
                    <a:pt x="0" y="1574799"/>
                  </a:lnTo>
                  <a:lnTo>
                    <a:pt x="13560" y="1536699"/>
                  </a:lnTo>
                  <a:lnTo>
                    <a:pt x="44579" y="1485899"/>
                  </a:lnTo>
                  <a:lnTo>
                    <a:pt x="76334" y="1422399"/>
                  </a:lnTo>
                  <a:lnTo>
                    <a:pt x="108833" y="1358899"/>
                  </a:lnTo>
                  <a:lnTo>
                    <a:pt x="142085" y="1295399"/>
                  </a:lnTo>
                  <a:lnTo>
                    <a:pt x="176098" y="1231899"/>
                  </a:lnTo>
                  <a:lnTo>
                    <a:pt x="210878" y="1168399"/>
                  </a:lnTo>
                  <a:lnTo>
                    <a:pt x="246434" y="1104899"/>
                  </a:lnTo>
                  <a:lnTo>
                    <a:pt x="271604" y="1066799"/>
                  </a:lnTo>
                  <a:lnTo>
                    <a:pt x="297151" y="1028699"/>
                  </a:lnTo>
                  <a:lnTo>
                    <a:pt x="323077" y="977899"/>
                  </a:lnTo>
                  <a:lnTo>
                    <a:pt x="349385" y="939799"/>
                  </a:lnTo>
                  <a:lnTo>
                    <a:pt x="376079" y="901699"/>
                  </a:lnTo>
                  <a:lnTo>
                    <a:pt x="403160" y="850899"/>
                  </a:lnTo>
                  <a:lnTo>
                    <a:pt x="430632" y="812799"/>
                  </a:lnTo>
                  <a:lnTo>
                    <a:pt x="458498" y="774699"/>
                  </a:lnTo>
                  <a:lnTo>
                    <a:pt x="486760" y="723899"/>
                  </a:lnTo>
                  <a:lnTo>
                    <a:pt x="515422" y="685799"/>
                  </a:lnTo>
                  <a:lnTo>
                    <a:pt x="544486" y="647699"/>
                  </a:lnTo>
                  <a:lnTo>
                    <a:pt x="573956" y="596899"/>
                  </a:lnTo>
                  <a:lnTo>
                    <a:pt x="603833" y="558799"/>
                  </a:lnTo>
                  <a:lnTo>
                    <a:pt x="634122" y="520699"/>
                  </a:lnTo>
                  <a:lnTo>
                    <a:pt x="664824" y="482599"/>
                  </a:lnTo>
                  <a:lnTo>
                    <a:pt x="695943" y="431799"/>
                  </a:lnTo>
                  <a:lnTo>
                    <a:pt x="727482" y="393699"/>
                  </a:lnTo>
                  <a:lnTo>
                    <a:pt x="759443" y="355599"/>
                  </a:lnTo>
                  <a:lnTo>
                    <a:pt x="791830" y="317499"/>
                  </a:lnTo>
                  <a:lnTo>
                    <a:pt x="824645" y="279399"/>
                  </a:lnTo>
                  <a:lnTo>
                    <a:pt x="857891" y="228599"/>
                  </a:lnTo>
                  <a:lnTo>
                    <a:pt x="891571" y="190499"/>
                  </a:lnTo>
                  <a:lnTo>
                    <a:pt x="925688" y="152399"/>
                  </a:lnTo>
                  <a:lnTo>
                    <a:pt x="960244" y="114299"/>
                  </a:lnTo>
                  <a:lnTo>
                    <a:pt x="995244" y="76199"/>
                  </a:lnTo>
                  <a:lnTo>
                    <a:pt x="1030688" y="38099"/>
                  </a:lnTo>
                  <a:lnTo>
                    <a:pt x="1067047" y="0"/>
                  </a:lnTo>
                  <a:lnTo>
                    <a:pt x="1067579" y="0"/>
                  </a:lnTo>
                  <a:lnTo>
                    <a:pt x="1065906" y="12699"/>
                  </a:lnTo>
                  <a:lnTo>
                    <a:pt x="1063267" y="25399"/>
                  </a:lnTo>
                  <a:lnTo>
                    <a:pt x="1059793" y="63499"/>
                  </a:lnTo>
                  <a:lnTo>
                    <a:pt x="1057704" y="76199"/>
                  </a:lnTo>
                  <a:lnTo>
                    <a:pt x="1030692" y="76199"/>
                  </a:lnTo>
                  <a:lnTo>
                    <a:pt x="1030646" y="76792"/>
                  </a:lnTo>
                  <a:lnTo>
                    <a:pt x="965649" y="152399"/>
                  </a:lnTo>
                  <a:lnTo>
                    <a:pt x="933300" y="190499"/>
                  </a:lnTo>
                  <a:lnTo>
                    <a:pt x="901224" y="228599"/>
                  </a:lnTo>
                  <a:lnTo>
                    <a:pt x="869422" y="266699"/>
                  </a:lnTo>
                  <a:lnTo>
                    <a:pt x="837899" y="304799"/>
                  </a:lnTo>
                  <a:lnTo>
                    <a:pt x="806655" y="342899"/>
                  </a:lnTo>
                  <a:lnTo>
                    <a:pt x="775694" y="380999"/>
                  </a:lnTo>
                  <a:lnTo>
                    <a:pt x="745017" y="419099"/>
                  </a:lnTo>
                  <a:lnTo>
                    <a:pt x="714628" y="457199"/>
                  </a:lnTo>
                  <a:lnTo>
                    <a:pt x="684527" y="495299"/>
                  </a:lnTo>
                  <a:lnTo>
                    <a:pt x="654719" y="533399"/>
                  </a:lnTo>
                  <a:lnTo>
                    <a:pt x="625205" y="571499"/>
                  </a:lnTo>
                  <a:lnTo>
                    <a:pt x="595987" y="622299"/>
                  </a:lnTo>
                  <a:lnTo>
                    <a:pt x="567069" y="660399"/>
                  </a:lnTo>
                  <a:lnTo>
                    <a:pt x="538451" y="698499"/>
                  </a:lnTo>
                  <a:lnTo>
                    <a:pt x="510137" y="736599"/>
                  </a:lnTo>
                  <a:lnTo>
                    <a:pt x="482129" y="787399"/>
                  </a:lnTo>
                  <a:lnTo>
                    <a:pt x="454429" y="825499"/>
                  </a:lnTo>
                  <a:lnTo>
                    <a:pt x="427040" y="863599"/>
                  </a:lnTo>
                  <a:lnTo>
                    <a:pt x="399965" y="901699"/>
                  </a:lnTo>
                  <a:lnTo>
                    <a:pt x="373204" y="952499"/>
                  </a:lnTo>
                  <a:lnTo>
                    <a:pt x="346761" y="990599"/>
                  </a:lnTo>
                  <a:lnTo>
                    <a:pt x="320639" y="1041399"/>
                  </a:lnTo>
                  <a:lnTo>
                    <a:pt x="294838" y="1079499"/>
                  </a:lnTo>
                  <a:lnTo>
                    <a:pt x="269363" y="1117599"/>
                  </a:lnTo>
                  <a:lnTo>
                    <a:pt x="234353" y="1181099"/>
                  </a:lnTo>
                  <a:lnTo>
                    <a:pt x="200097" y="1244599"/>
                  </a:lnTo>
                  <a:lnTo>
                    <a:pt x="166589" y="1308099"/>
                  </a:lnTo>
                  <a:lnTo>
                    <a:pt x="133820" y="1358899"/>
                  </a:lnTo>
                  <a:lnTo>
                    <a:pt x="101783" y="1422399"/>
                  </a:lnTo>
                  <a:lnTo>
                    <a:pt x="70470" y="1485899"/>
                  </a:lnTo>
                  <a:lnTo>
                    <a:pt x="39875" y="1549399"/>
                  </a:lnTo>
                  <a:lnTo>
                    <a:pt x="9989" y="1612899"/>
                  </a:lnTo>
                  <a:lnTo>
                    <a:pt x="0" y="1625599"/>
                  </a:lnTo>
                  <a:close/>
                </a:path>
                <a:path w="3203575" h="6845300">
                  <a:moveTo>
                    <a:pt x="1030646" y="76792"/>
                  </a:moveTo>
                  <a:lnTo>
                    <a:pt x="1030692" y="76199"/>
                  </a:lnTo>
                  <a:lnTo>
                    <a:pt x="1031157" y="76199"/>
                  </a:lnTo>
                  <a:lnTo>
                    <a:pt x="1030646" y="76792"/>
                  </a:lnTo>
                  <a:close/>
                </a:path>
                <a:path w="3203575" h="6845300">
                  <a:moveTo>
                    <a:pt x="3203469" y="6845300"/>
                  </a:moveTo>
                  <a:lnTo>
                    <a:pt x="0" y="6845299"/>
                  </a:lnTo>
                  <a:lnTo>
                    <a:pt x="0" y="6819899"/>
                  </a:lnTo>
                  <a:lnTo>
                    <a:pt x="3138602" y="6819900"/>
                  </a:lnTo>
                  <a:lnTo>
                    <a:pt x="3067800" y="6743700"/>
                  </a:lnTo>
                  <a:lnTo>
                    <a:pt x="3032809" y="6718300"/>
                  </a:lnTo>
                  <a:lnTo>
                    <a:pt x="2963650" y="6642100"/>
                  </a:lnTo>
                  <a:lnTo>
                    <a:pt x="2895593" y="6565900"/>
                  </a:lnTo>
                  <a:lnTo>
                    <a:pt x="2861979" y="6540500"/>
                  </a:lnTo>
                  <a:lnTo>
                    <a:pt x="2795584" y="6464300"/>
                  </a:lnTo>
                  <a:lnTo>
                    <a:pt x="2730304" y="6388100"/>
                  </a:lnTo>
                  <a:lnTo>
                    <a:pt x="2698083" y="6350000"/>
                  </a:lnTo>
                  <a:lnTo>
                    <a:pt x="2666144" y="6311900"/>
                  </a:lnTo>
                  <a:lnTo>
                    <a:pt x="2634486" y="6273800"/>
                  </a:lnTo>
                  <a:lnTo>
                    <a:pt x="2603109" y="6235700"/>
                  </a:lnTo>
                  <a:lnTo>
                    <a:pt x="2572016" y="6197600"/>
                  </a:lnTo>
                  <a:lnTo>
                    <a:pt x="2541206" y="6159500"/>
                  </a:lnTo>
                  <a:lnTo>
                    <a:pt x="2510680" y="6121400"/>
                  </a:lnTo>
                  <a:lnTo>
                    <a:pt x="2480439" y="6070600"/>
                  </a:lnTo>
                  <a:lnTo>
                    <a:pt x="2450483" y="6032500"/>
                  </a:lnTo>
                  <a:lnTo>
                    <a:pt x="2420814" y="5994400"/>
                  </a:lnTo>
                  <a:lnTo>
                    <a:pt x="2391431" y="5956300"/>
                  </a:lnTo>
                  <a:lnTo>
                    <a:pt x="2362335" y="5918200"/>
                  </a:lnTo>
                  <a:lnTo>
                    <a:pt x="2333528" y="5867400"/>
                  </a:lnTo>
                  <a:lnTo>
                    <a:pt x="2305009" y="5829300"/>
                  </a:lnTo>
                  <a:lnTo>
                    <a:pt x="2276780" y="5791200"/>
                  </a:lnTo>
                  <a:lnTo>
                    <a:pt x="2248841" y="5753100"/>
                  </a:lnTo>
                  <a:lnTo>
                    <a:pt x="2221193" y="5702300"/>
                  </a:lnTo>
                  <a:lnTo>
                    <a:pt x="2193836" y="5664200"/>
                  </a:lnTo>
                  <a:lnTo>
                    <a:pt x="2166771" y="5626100"/>
                  </a:lnTo>
                  <a:lnTo>
                    <a:pt x="2139999" y="5575300"/>
                  </a:lnTo>
                  <a:lnTo>
                    <a:pt x="2113520" y="5537200"/>
                  </a:lnTo>
                  <a:lnTo>
                    <a:pt x="2087335" y="5486400"/>
                  </a:lnTo>
                  <a:lnTo>
                    <a:pt x="2061446" y="5448300"/>
                  </a:lnTo>
                  <a:lnTo>
                    <a:pt x="2035851" y="5397500"/>
                  </a:lnTo>
                  <a:lnTo>
                    <a:pt x="2010553" y="5359400"/>
                  </a:lnTo>
                  <a:lnTo>
                    <a:pt x="1985552" y="5308600"/>
                  </a:lnTo>
                  <a:lnTo>
                    <a:pt x="1960848" y="5270500"/>
                  </a:lnTo>
                  <a:lnTo>
                    <a:pt x="1936442" y="5219700"/>
                  </a:lnTo>
                  <a:lnTo>
                    <a:pt x="1912334" y="5181600"/>
                  </a:lnTo>
                  <a:lnTo>
                    <a:pt x="1888527" y="5130800"/>
                  </a:lnTo>
                  <a:lnTo>
                    <a:pt x="1865019" y="5080000"/>
                  </a:lnTo>
                  <a:lnTo>
                    <a:pt x="1841812" y="5041900"/>
                  </a:lnTo>
                  <a:lnTo>
                    <a:pt x="1818907" y="4991100"/>
                  </a:lnTo>
                  <a:lnTo>
                    <a:pt x="1796304" y="4940300"/>
                  </a:lnTo>
                  <a:lnTo>
                    <a:pt x="1774003" y="4902200"/>
                  </a:lnTo>
                  <a:lnTo>
                    <a:pt x="1753712" y="4851400"/>
                  </a:lnTo>
                  <a:lnTo>
                    <a:pt x="1733670" y="4813300"/>
                  </a:lnTo>
                  <a:lnTo>
                    <a:pt x="1713878" y="4762500"/>
                  </a:lnTo>
                  <a:lnTo>
                    <a:pt x="1694337" y="4724400"/>
                  </a:lnTo>
                  <a:lnTo>
                    <a:pt x="1675048" y="4673600"/>
                  </a:lnTo>
                  <a:lnTo>
                    <a:pt x="1656010" y="4635500"/>
                  </a:lnTo>
                  <a:lnTo>
                    <a:pt x="1637225" y="4584700"/>
                  </a:lnTo>
                  <a:lnTo>
                    <a:pt x="1618693" y="4546600"/>
                  </a:lnTo>
                  <a:lnTo>
                    <a:pt x="1600415" y="4495800"/>
                  </a:lnTo>
                  <a:lnTo>
                    <a:pt x="1582391" y="4457700"/>
                  </a:lnTo>
                  <a:lnTo>
                    <a:pt x="1564621" y="4406900"/>
                  </a:lnTo>
                  <a:lnTo>
                    <a:pt x="1547107" y="4356100"/>
                  </a:lnTo>
                  <a:lnTo>
                    <a:pt x="1529849" y="4318000"/>
                  </a:lnTo>
                  <a:lnTo>
                    <a:pt x="1512847" y="4267200"/>
                  </a:lnTo>
                  <a:lnTo>
                    <a:pt x="1496103" y="4216400"/>
                  </a:lnTo>
                  <a:lnTo>
                    <a:pt x="1479616" y="4178300"/>
                  </a:lnTo>
                  <a:lnTo>
                    <a:pt x="1463387" y="4127500"/>
                  </a:lnTo>
                  <a:lnTo>
                    <a:pt x="1447416" y="4076700"/>
                  </a:lnTo>
                  <a:lnTo>
                    <a:pt x="1431706" y="4038600"/>
                  </a:lnTo>
                  <a:lnTo>
                    <a:pt x="1416255" y="3987800"/>
                  </a:lnTo>
                  <a:lnTo>
                    <a:pt x="1401064" y="3937000"/>
                  </a:lnTo>
                  <a:lnTo>
                    <a:pt x="1386134" y="3886200"/>
                  </a:lnTo>
                  <a:lnTo>
                    <a:pt x="1371466" y="3848100"/>
                  </a:lnTo>
                  <a:lnTo>
                    <a:pt x="1357060" y="3797300"/>
                  </a:lnTo>
                  <a:lnTo>
                    <a:pt x="1342917" y="3746500"/>
                  </a:lnTo>
                  <a:lnTo>
                    <a:pt x="1329037" y="3695700"/>
                  </a:lnTo>
                  <a:lnTo>
                    <a:pt x="1315421" y="3644900"/>
                  </a:lnTo>
                  <a:lnTo>
                    <a:pt x="1302070" y="3594100"/>
                  </a:lnTo>
                  <a:lnTo>
                    <a:pt x="1288983" y="3543300"/>
                  </a:lnTo>
                  <a:lnTo>
                    <a:pt x="1276162" y="3492500"/>
                  </a:lnTo>
                  <a:lnTo>
                    <a:pt x="1263607" y="3454400"/>
                  </a:lnTo>
                  <a:lnTo>
                    <a:pt x="1251318" y="3403600"/>
                  </a:lnTo>
                  <a:lnTo>
                    <a:pt x="1239297" y="3352800"/>
                  </a:lnTo>
                  <a:lnTo>
                    <a:pt x="1227544" y="3302000"/>
                  </a:lnTo>
                  <a:lnTo>
                    <a:pt x="1216059" y="3251200"/>
                  </a:lnTo>
                  <a:lnTo>
                    <a:pt x="1204843" y="3200400"/>
                  </a:lnTo>
                  <a:lnTo>
                    <a:pt x="1193896" y="3149600"/>
                  </a:lnTo>
                  <a:lnTo>
                    <a:pt x="1183219" y="3098800"/>
                  </a:lnTo>
                  <a:lnTo>
                    <a:pt x="1172814" y="3048000"/>
                  </a:lnTo>
                  <a:lnTo>
                    <a:pt x="1162679" y="2997200"/>
                  </a:lnTo>
                  <a:lnTo>
                    <a:pt x="1152816" y="2946400"/>
                  </a:lnTo>
                  <a:lnTo>
                    <a:pt x="1143225" y="2882900"/>
                  </a:lnTo>
                  <a:lnTo>
                    <a:pt x="1133908" y="2832100"/>
                  </a:lnTo>
                  <a:lnTo>
                    <a:pt x="1125437" y="2794000"/>
                  </a:lnTo>
                  <a:lnTo>
                    <a:pt x="1117205" y="2743200"/>
                  </a:lnTo>
                  <a:lnTo>
                    <a:pt x="1109213" y="2692400"/>
                  </a:lnTo>
                  <a:lnTo>
                    <a:pt x="1101460" y="2641600"/>
                  </a:lnTo>
                  <a:lnTo>
                    <a:pt x="1093947" y="2590799"/>
                  </a:lnTo>
                  <a:lnTo>
                    <a:pt x="1086673" y="2539999"/>
                  </a:lnTo>
                  <a:lnTo>
                    <a:pt x="1079639" y="2501899"/>
                  </a:lnTo>
                  <a:lnTo>
                    <a:pt x="1072845" y="2451099"/>
                  </a:lnTo>
                  <a:lnTo>
                    <a:pt x="1066291" y="2400299"/>
                  </a:lnTo>
                  <a:lnTo>
                    <a:pt x="1059976" y="2349499"/>
                  </a:lnTo>
                  <a:lnTo>
                    <a:pt x="1053902" y="2298699"/>
                  </a:lnTo>
                  <a:lnTo>
                    <a:pt x="1048068" y="2247899"/>
                  </a:lnTo>
                  <a:lnTo>
                    <a:pt x="1042474" y="2197099"/>
                  </a:lnTo>
                  <a:lnTo>
                    <a:pt x="1037120" y="2146299"/>
                  </a:lnTo>
                  <a:lnTo>
                    <a:pt x="1032006" y="2108199"/>
                  </a:lnTo>
                  <a:lnTo>
                    <a:pt x="1027133" y="2057399"/>
                  </a:lnTo>
                  <a:lnTo>
                    <a:pt x="1022500" y="2006599"/>
                  </a:lnTo>
                  <a:lnTo>
                    <a:pt x="1018108" y="1955799"/>
                  </a:lnTo>
                  <a:lnTo>
                    <a:pt x="1013957" y="1904999"/>
                  </a:lnTo>
                  <a:lnTo>
                    <a:pt x="1010046" y="1854199"/>
                  </a:lnTo>
                  <a:lnTo>
                    <a:pt x="1006376" y="1803399"/>
                  </a:lnTo>
                  <a:lnTo>
                    <a:pt x="1002946" y="1752599"/>
                  </a:lnTo>
                  <a:lnTo>
                    <a:pt x="999758" y="1701799"/>
                  </a:lnTo>
                  <a:lnTo>
                    <a:pt x="996810" y="1650999"/>
                  </a:lnTo>
                  <a:lnTo>
                    <a:pt x="994104" y="1600199"/>
                  </a:lnTo>
                  <a:lnTo>
                    <a:pt x="991639" y="1549399"/>
                  </a:lnTo>
                  <a:lnTo>
                    <a:pt x="989415" y="1498599"/>
                  </a:lnTo>
                  <a:lnTo>
                    <a:pt x="987432" y="1447799"/>
                  </a:lnTo>
                  <a:lnTo>
                    <a:pt x="985690" y="1396999"/>
                  </a:lnTo>
                  <a:lnTo>
                    <a:pt x="984190" y="1346199"/>
                  </a:lnTo>
                  <a:lnTo>
                    <a:pt x="982932" y="1295399"/>
                  </a:lnTo>
                  <a:lnTo>
                    <a:pt x="981915" y="1244599"/>
                  </a:lnTo>
                  <a:lnTo>
                    <a:pt x="981139" y="1193799"/>
                  </a:lnTo>
                  <a:lnTo>
                    <a:pt x="980606" y="1142999"/>
                  </a:lnTo>
                  <a:lnTo>
                    <a:pt x="980387" y="1104899"/>
                  </a:lnTo>
                  <a:lnTo>
                    <a:pt x="980263" y="1028699"/>
                  </a:lnTo>
                  <a:lnTo>
                    <a:pt x="980686" y="952499"/>
                  </a:lnTo>
                  <a:lnTo>
                    <a:pt x="981547" y="888999"/>
                  </a:lnTo>
                  <a:lnTo>
                    <a:pt x="982810" y="825499"/>
                  </a:lnTo>
                  <a:lnTo>
                    <a:pt x="984442" y="761999"/>
                  </a:lnTo>
                  <a:lnTo>
                    <a:pt x="986406" y="698499"/>
                  </a:lnTo>
                  <a:lnTo>
                    <a:pt x="988668" y="634999"/>
                  </a:lnTo>
                  <a:lnTo>
                    <a:pt x="991193" y="584199"/>
                  </a:lnTo>
                  <a:lnTo>
                    <a:pt x="993944" y="533399"/>
                  </a:lnTo>
                  <a:lnTo>
                    <a:pt x="996888" y="482599"/>
                  </a:lnTo>
                  <a:lnTo>
                    <a:pt x="999989" y="431799"/>
                  </a:lnTo>
                  <a:lnTo>
                    <a:pt x="1003212" y="380999"/>
                  </a:lnTo>
                  <a:lnTo>
                    <a:pt x="1006521" y="330199"/>
                  </a:lnTo>
                  <a:lnTo>
                    <a:pt x="1016618" y="215899"/>
                  </a:lnTo>
                  <a:lnTo>
                    <a:pt x="1019923" y="177799"/>
                  </a:lnTo>
                  <a:lnTo>
                    <a:pt x="1023139" y="152399"/>
                  </a:lnTo>
                  <a:lnTo>
                    <a:pt x="1026231" y="114299"/>
                  </a:lnTo>
                  <a:lnTo>
                    <a:pt x="1029164" y="88899"/>
                  </a:lnTo>
                  <a:lnTo>
                    <a:pt x="1029695" y="88899"/>
                  </a:lnTo>
                  <a:lnTo>
                    <a:pt x="1030646" y="76792"/>
                  </a:lnTo>
                  <a:lnTo>
                    <a:pt x="1031157" y="76199"/>
                  </a:lnTo>
                  <a:lnTo>
                    <a:pt x="1057704" y="76199"/>
                  </a:lnTo>
                  <a:lnTo>
                    <a:pt x="1055615" y="88899"/>
                  </a:lnTo>
                  <a:lnTo>
                    <a:pt x="1054161" y="101599"/>
                  </a:lnTo>
                  <a:lnTo>
                    <a:pt x="1052658" y="126999"/>
                  </a:lnTo>
                  <a:lnTo>
                    <a:pt x="1051110" y="139699"/>
                  </a:lnTo>
                  <a:lnTo>
                    <a:pt x="1049522" y="152399"/>
                  </a:lnTo>
                  <a:lnTo>
                    <a:pt x="1047899" y="165099"/>
                  </a:lnTo>
                  <a:lnTo>
                    <a:pt x="1046246" y="190499"/>
                  </a:lnTo>
                  <a:lnTo>
                    <a:pt x="1042871" y="215899"/>
                  </a:lnTo>
                  <a:lnTo>
                    <a:pt x="1041158" y="241299"/>
                  </a:lnTo>
                  <a:lnTo>
                    <a:pt x="1039434" y="253999"/>
                  </a:lnTo>
                  <a:lnTo>
                    <a:pt x="1035975" y="304799"/>
                  </a:lnTo>
                  <a:lnTo>
                    <a:pt x="1034249" y="317499"/>
                  </a:lnTo>
                  <a:lnTo>
                    <a:pt x="1030830" y="368299"/>
                  </a:lnTo>
                  <a:lnTo>
                    <a:pt x="1027485" y="419099"/>
                  </a:lnTo>
                  <a:lnTo>
                    <a:pt x="1024255" y="469899"/>
                  </a:lnTo>
                  <a:lnTo>
                    <a:pt x="1021178" y="520699"/>
                  </a:lnTo>
                  <a:lnTo>
                    <a:pt x="1018292" y="571499"/>
                  </a:lnTo>
                  <a:lnTo>
                    <a:pt x="1016934" y="609599"/>
                  </a:lnTo>
                  <a:lnTo>
                    <a:pt x="1015638" y="634999"/>
                  </a:lnTo>
                  <a:lnTo>
                    <a:pt x="1014410" y="660399"/>
                  </a:lnTo>
                  <a:lnTo>
                    <a:pt x="1013253" y="698499"/>
                  </a:lnTo>
                  <a:lnTo>
                    <a:pt x="1012175" y="723899"/>
                  </a:lnTo>
                  <a:lnTo>
                    <a:pt x="1011178" y="761999"/>
                  </a:lnTo>
                  <a:lnTo>
                    <a:pt x="1010268" y="787399"/>
                  </a:lnTo>
                  <a:lnTo>
                    <a:pt x="1009450" y="825499"/>
                  </a:lnTo>
                  <a:lnTo>
                    <a:pt x="1008110" y="888999"/>
                  </a:lnTo>
                  <a:lnTo>
                    <a:pt x="1007597" y="927099"/>
                  </a:lnTo>
                  <a:lnTo>
                    <a:pt x="1006909" y="990599"/>
                  </a:lnTo>
                  <a:lnTo>
                    <a:pt x="1006745" y="1028699"/>
                  </a:lnTo>
                  <a:lnTo>
                    <a:pt x="1006798" y="1104899"/>
                  </a:lnTo>
                  <a:lnTo>
                    <a:pt x="1007026" y="1142999"/>
                  </a:lnTo>
                  <a:lnTo>
                    <a:pt x="1007395" y="1181099"/>
                  </a:lnTo>
                  <a:lnTo>
                    <a:pt x="1007909" y="1219199"/>
                  </a:lnTo>
                  <a:lnTo>
                    <a:pt x="1008573" y="1257299"/>
                  </a:lnTo>
                  <a:lnTo>
                    <a:pt x="1009392" y="1295399"/>
                  </a:lnTo>
                  <a:lnTo>
                    <a:pt x="1010372" y="1333499"/>
                  </a:lnTo>
                  <a:lnTo>
                    <a:pt x="1011516" y="1371599"/>
                  </a:lnTo>
                  <a:lnTo>
                    <a:pt x="1012830" y="1422399"/>
                  </a:lnTo>
                  <a:lnTo>
                    <a:pt x="1014319" y="1460499"/>
                  </a:lnTo>
                  <a:lnTo>
                    <a:pt x="1015987" y="1498599"/>
                  </a:lnTo>
                  <a:lnTo>
                    <a:pt x="1017840" y="1536699"/>
                  </a:lnTo>
                  <a:lnTo>
                    <a:pt x="1019882" y="1587499"/>
                  </a:lnTo>
                  <a:lnTo>
                    <a:pt x="1022118" y="1625599"/>
                  </a:lnTo>
                  <a:lnTo>
                    <a:pt x="1024553" y="1676399"/>
                  </a:lnTo>
                  <a:lnTo>
                    <a:pt x="1027192" y="1714499"/>
                  </a:lnTo>
                  <a:lnTo>
                    <a:pt x="1030040" y="1752599"/>
                  </a:lnTo>
                  <a:lnTo>
                    <a:pt x="1033101" y="1803399"/>
                  </a:lnTo>
                  <a:lnTo>
                    <a:pt x="1036381" y="1841499"/>
                  </a:lnTo>
                  <a:lnTo>
                    <a:pt x="1039884" y="1892299"/>
                  </a:lnTo>
                  <a:lnTo>
                    <a:pt x="1043616" y="1943099"/>
                  </a:lnTo>
                  <a:lnTo>
                    <a:pt x="1047580" y="1981199"/>
                  </a:lnTo>
                  <a:lnTo>
                    <a:pt x="1051783" y="2031999"/>
                  </a:lnTo>
                  <a:lnTo>
                    <a:pt x="1056228" y="2070099"/>
                  </a:lnTo>
                  <a:lnTo>
                    <a:pt x="1060921" y="2120899"/>
                  </a:lnTo>
                  <a:lnTo>
                    <a:pt x="1065867" y="2171699"/>
                  </a:lnTo>
                  <a:lnTo>
                    <a:pt x="1071070" y="2222499"/>
                  </a:lnTo>
                  <a:lnTo>
                    <a:pt x="1076535" y="2260599"/>
                  </a:lnTo>
                  <a:lnTo>
                    <a:pt x="1082268" y="2311399"/>
                  </a:lnTo>
                  <a:lnTo>
                    <a:pt x="1088273" y="2362199"/>
                  </a:lnTo>
                  <a:lnTo>
                    <a:pt x="1094555" y="2412999"/>
                  </a:lnTo>
                  <a:lnTo>
                    <a:pt x="1101118" y="2463800"/>
                  </a:lnTo>
                  <a:lnTo>
                    <a:pt x="1107969" y="2501900"/>
                  </a:lnTo>
                  <a:lnTo>
                    <a:pt x="1115110" y="2552700"/>
                  </a:lnTo>
                  <a:lnTo>
                    <a:pt x="1122549" y="2603500"/>
                  </a:lnTo>
                  <a:lnTo>
                    <a:pt x="1130288" y="2654300"/>
                  </a:lnTo>
                  <a:lnTo>
                    <a:pt x="1138334" y="2705100"/>
                  </a:lnTo>
                  <a:lnTo>
                    <a:pt x="1146691" y="2755900"/>
                  </a:lnTo>
                  <a:lnTo>
                    <a:pt x="1155363" y="2806700"/>
                  </a:lnTo>
                  <a:lnTo>
                    <a:pt x="1164357" y="2857500"/>
                  </a:lnTo>
                  <a:lnTo>
                    <a:pt x="1173676" y="2908300"/>
                  </a:lnTo>
                  <a:lnTo>
                    <a:pt x="1183326" y="2959100"/>
                  </a:lnTo>
                  <a:lnTo>
                    <a:pt x="1193311" y="3009900"/>
                  </a:lnTo>
                  <a:lnTo>
                    <a:pt x="1203636" y="3060700"/>
                  </a:lnTo>
                  <a:lnTo>
                    <a:pt x="1214306" y="3111500"/>
                  </a:lnTo>
                  <a:lnTo>
                    <a:pt x="1225327" y="3162300"/>
                  </a:lnTo>
                  <a:lnTo>
                    <a:pt x="1236702" y="3213100"/>
                  </a:lnTo>
                  <a:lnTo>
                    <a:pt x="1248438" y="3276600"/>
                  </a:lnTo>
                  <a:lnTo>
                    <a:pt x="1260537" y="3327400"/>
                  </a:lnTo>
                  <a:lnTo>
                    <a:pt x="1273007" y="3378200"/>
                  </a:lnTo>
                  <a:lnTo>
                    <a:pt x="1285850" y="3429000"/>
                  </a:lnTo>
                  <a:lnTo>
                    <a:pt x="1299073" y="3479800"/>
                  </a:lnTo>
                  <a:lnTo>
                    <a:pt x="1312680" y="3530600"/>
                  </a:lnTo>
                  <a:lnTo>
                    <a:pt x="1326676" y="3581400"/>
                  </a:lnTo>
                  <a:lnTo>
                    <a:pt x="1341066" y="3644900"/>
                  </a:lnTo>
                  <a:lnTo>
                    <a:pt x="1355855" y="3695700"/>
                  </a:lnTo>
                  <a:lnTo>
                    <a:pt x="1371047" y="3746500"/>
                  </a:lnTo>
                  <a:lnTo>
                    <a:pt x="1386648" y="3797300"/>
                  </a:lnTo>
                  <a:lnTo>
                    <a:pt x="1402662" y="3848100"/>
                  </a:lnTo>
                  <a:lnTo>
                    <a:pt x="1419094" y="3911600"/>
                  </a:lnTo>
                  <a:lnTo>
                    <a:pt x="1435949" y="3962400"/>
                  </a:lnTo>
                  <a:lnTo>
                    <a:pt x="1453232" y="4013200"/>
                  </a:lnTo>
                  <a:lnTo>
                    <a:pt x="1470948" y="4064000"/>
                  </a:lnTo>
                  <a:lnTo>
                    <a:pt x="1489102" y="4127500"/>
                  </a:lnTo>
                  <a:lnTo>
                    <a:pt x="1507699" y="4178300"/>
                  </a:lnTo>
                  <a:lnTo>
                    <a:pt x="1526742" y="4229100"/>
                  </a:lnTo>
                  <a:lnTo>
                    <a:pt x="1546239" y="4279900"/>
                  </a:lnTo>
                  <a:lnTo>
                    <a:pt x="1566192" y="4343400"/>
                  </a:lnTo>
                  <a:lnTo>
                    <a:pt x="1586607" y="4394200"/>
                  </a:lnTo>
                  <a:lnTo>
                    <a:pt x="1607489" y="4445000"/>
                  </a:lnTo>
                  <a:lnTo>
                    <a:pt x="1628844" y="4495800"/>
                  </a:lnTo>
                  <a:lnTo>
                    <a:pt x="1650674" y="4546600"/>
                  </a:lnTo>
                  <a:lnTo>
                    <a:pt x="1672987" y="4610100"/>
                  </a:lnTo>
                  <a:lnTo>
                    <a:pt x="1695785" y="4660900"/>
                  </a:lnTo>
                  <a:lnTo>
                    <a:pt x="1719075" y="4711700"/>
                  </a:lnTo>
                  <a:lnTo>
                    <a:pt x="1742861" y="4762500"/>
                  </a:lnTo>
                  <a:lnTo>
                    <a:pt x="1767149" y="4826000"/>
                  </a:lnTo>
                  <a:lnTo>
                    <a:pt x="1791942" y="4876800"/>
                  </a:lnTo>
                  <a:lnTo>
                    <a:pt x="1817245" y="4927600"/>
                  </a:lnTo>
                  <a:lnTo>
                    <a:pt x="1843065" y="4978400"/>
                  </a:lnTo>
                  <a:lnTo>
                    <a:pt x="1869405" y="5029200"/>
                  </a:lnTo>
                  <a:lnTo>
                    <a:pt x="1896270" y="5092700"/>
                  </a:lnTo>
                  <a:lnTo>
                    <a:pt x="1923666" y="5143500"/>
                  </a:lnTo>
                  <a:lnTo>
                    <a:pt x="1951596" y="5194300"/>
                  </a:lnTo>
                  <a:lnTo>
                    <a:pt x="1980067" y="5245100"/>
                  </a:lnTo>
                  <a:lnTo>
                    <a:pt x="2009083" y="5295900"/>
                  </a:lnTo>
                  <a:lnTo>
                    <a:pt x="2038648" y="5359400"/>
                  </a:lnTo>
                  <a:lnTo>
                    <a:pt x="2068768" y="5410200"/>
                  </a:lnTo>
                  <a:lnTo>
                    <a:pt x="2099447" y="5461000"/>
                  </a:lnTo>
                  <a:lnTo>
                    <a:pt x="2130691" y="5511800"/>
                  </a:lnTo>
                  <a:lnTo>
                    <a:pt x="2162504" y="5562600"/>
                  </a:lnTo>
                  <a:lnTo>
                    <a:pt x="2194891" y="5613400"/>
                  </a:lnTo>
                  <a:lnTo>
                    <a:pt x="2227857" y="5664200"/>
                  </a:lnTo>
                  <a:lnTo>
                    <a:pt x="2261407" y="5715000"/>
                  </a:lnTo>
                  <a:lnTo>
                    <a:pt x="2295546" y="5765800"/>
                  </a:lnTo>
                  <a:lnTo>
                    <a:pt x="2330278" y="5816600"/>
                  </a:lnTo>
                  <a:lnTo>
                    <a:pt x="2365608" y="5867400"/>
                  </a:lnTo>
                  <a:lnTo>
                    <a:pt x="2401542" y="5918200"/>
                  </a:lnTo>
                  <a:lnTo>
                    <a:pt x="2438084" y="5969000"/>
                  </a:lnTo>
                  <a:lnTo>
                    <a:pt x="2475239" y="6019800"/>
                  </a:lnTo>
                  <a:lnTo>
                    <a:pt x="2513013" y="6070600"/>
                  </a:lnTo>
                  <a:lnTo>
                    <a:pt x="2551408" y="6121400"/>
                  </a:lnTo>
                  <a:lnTo>
                    <a:pt x="2590432" y="6172200"/>
                  </a:lnTo>
                  <a:lnTo>
                    <a:pt x="2630088" y="6223000"/>
                  </a:lnTo>
                  <a:lnTo>
                    <a:pt x="2670382" y="6273800"/>
                  </a:lnTo>
                  <a:lnTo>
                    <a:pt x="2711318" y="6324600"/>
                  </a:lnTo>
                  <a:lnTo>
                    <a:pt x="2752900" y="6375400"/>
                  </a:lnTo>
                  <a:lnTo>
                    <a:pt x="2795136" y="6426200"/>
                  </a:lnTo>
                  <a:lnTo>
                    <a:pt x="2838027" y="6464300"/>
                  </a:lnTo>
                  <a:lnTo>
                    <a:pt x="2881581" y="6515100"/>
                  </a:lnTo>
                  <a:lnTo>
                    <a:pt x="2925801" y="6565900"/>
                  </a:lnTo>
                  <a:lnTo>
                    <a:pt x="2970693" y="6616700"/>
                  </a:lnTo>
                  <a:lnTo>
                    <a:pt x="3016262" y="6654800"/>
                  </a:lnTo>
                  <a:lnTo>
                    <a:pt x="3062511" y="6705600"/>
                  </a:lnTo>
                  <a:lnTo>
                    <a:pt x="3109447" y="6756400"/>
                  </a:lnTo>
                  <a:lnTo>
                    <a:pt x="3157073" y="6794500"/>
                  </a:lnTo>
                  <a:lnTo>
                    <a:pt x="3203469" y="68453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1100619" y="0"/>
              <a:ext cx="1390650" cy="2380615"/>
            </a:xfrm>
            <a:custGeom>
              <a:avLst/>
              <a:gdLst/>
              <a:ahLst/>
              <a:cxnLst/>
              <a:rect l="l" t="t" r="r" b="b"/>
              <a:pathLst>
                <a:path w="1390650" h="2380615">
                  <a:moveTo>
                    <a:pt x="84597" y="2380552"/>
                  </a:moveTo>
                  <a:lnTo>
                    <a:pt x="1359" y="1434726"/>
                  </a:lnTo>
                  <a:lnTo>
                    <a:pt x="0" y="680126"/>
                  </a:lnTo>
                  <a:lnTo>
                    <a:pt x="33595" y="180567"/>
                  </a:lnTo>
                  <a:lnTo>
                    <a:pt x="55205" y="0"/>
                  </a:lnTo>
                  <a:lnTo>
                    <a:pt x="1390276" y="0"/>
                  </a:lnTo>
                  <a:lnTo>
                    <a:pt x="1370171" y="26772"/>
                  </a:lnTo>
                  <a:lnTo>
                    <a:pt x="78151" y="26771"/>
                  </a:lnTo>
                  <a:lnTo>
                    <a:pt x="75629" y="46118"/>
                  </a:lnTo>
                  <a:lnTo>
                    <a:pt x="68905" y="101801"/>
                  </a:lnTo>
                  <a:lnTo>
                    <a:pt x="60583" y="179175"/>
                  </a:lnTo>
                  <a:lnTo>
                    <a:pt x="56065" y="225635"/>
                  </a:lnTo>
                  <a:lnTo>
                    <a:pt x="51437" y="277085"/>
                  </a:lnTo>
                  <a:lnTo>
                    <a:pt x="46739" y="334150"/>
                  </a:lnTo>
                  <a:lnTo>
                    <a:pt x="42239" y="394378"/>
                  </a:lnTo>
                  <a:lnTo>
                    <a:pt x="37862" y="459933"/>
                  </a:lnTo>
                  <a:lnTo>
                    <a:pt x="33686" y="531401"/>
                  </a:lnTo>
                  <a:lnTo>
                    <a:pt x="30033" y="604138"/>
                  </a:lnTo>
                  <a:lnTo>
                    <a:pt x="26775" y="682501"/>
                  </a:lnTo>
                  <a:lnTo>
                    <a:pt x="24290" y="755830"/>
                  </a:lnTo>
                  <a:lnTo>
                    <a:pt x="23208" y="795209"/>
                  </a:lnTo>
                  <a:lnTo>
                    <a:pt x="22306" y="833950"/>
                  </a:lnTo>
                  <a:lnTo>
                    <a:pt x="21535" y="874751"/>
                  </a:lnTo>
                  <a:lnTo>
                    <a:pt x="20927" y="916683"/>
                  </a:lnTo>
                  <a:lnTo>
                    <a:pt x="20495" y="959724"/>
                  </a:lnTo>
                  <a:lnTo>
                    <a:pt x="20253" y="1003852"/>
                  </a:lnTo>
                  <a:lnTo>
                    <a:pt x="20257" y="1060460"/>
                  </a:lnTo>
                  <a:lnTo>
                    <a:pt x="20823" y="1144710"/>
                  </a:lnTo>
                  <a:lnTo>
                    <a:pt x="21439" y="1190791"/>
                  </a:lnTo>
                  <a:lnTo>
                    <a:pt x="22337" y="1240023"/>
                  </a:lnTo>
                  <a:lnTo>
                    <a:pt x="23502" y="1290208"/>
                  </a:lnTo>
                  <a:lnTo>
                    <a:pt x="24947" y="1341326"/>
                  </a:lnTo>
                  <a:lnTo>
                    <a:pt x="26684" y="1393354"/>
                  </a:lnTo>
                  <a:lnTo>
                    <a:pt x="28727" y="1446270"/>
                  </a:lnTo>
                  <a:lnTo>
                    <a:pt x="31087" y="1500052"/>
                  </a:lnTo>
                  <a:lnTo>
                    <a:pt x="33778" y="1554678"/>
                  </a:lnTo>
                  <a:lnTo>
                    <a:pt x="36813" y="1610125"/>
                  </a:lnTo>
                  <a:lnTo>
                    <a:pt x="40205" y="1666373"/>
                  </a:lnTo>
                  <a:lnTo>
                    <a:pt x="43966" y="1723398"/>
                  </a:lnTo>
                  <a:lnTo>
                    <a:pt x="48109" y="1781178"/>
                  </a:lnTo>
                  <a:lnTo>
                    <a:pt x="52648" y="1839691"/>
                  </a:lnTo>
                  <a:lnTo>
                    <a:pt x="57594" y="1898916"/>
                  </a:lnTo>
                  <a:lnTo>
                    <a:pt x="62961" y="1958830"/>
                  </a:lnTo>
                  <a:lnTo>
                    <a:pt x="68763" y="2019411"/>
                  </a:lnTo>
                  <a:lnTo>
                    <a:pt x="75010" y="2080637"/>
                  </a:lnTo>
                  <a:lnTo>
                    <a:pt x="81717" y="2142486"/>
                  </a:lnTo>
                  <a:lnTo>
                    <a:pt x="88896" y="2204936"/>
                  </a:lnTo>
                  <a:lnTo>
                    <a:pt x="96561" y="2267964"/>
                  </a:lnTo>
                  <a:lnTo>
                    <a:pt x="125155" y="2267964"/>
                  </a:lnTo>
                  <a:lnTo>
                    <a:pt x="118077" y="2286902"/>
                  </a:lnTo>
                  <a:lnTo>
                    <a:pt x="104890" y="2322860"/>
                  </a:lnTo>
                  <a:lnTo>
                    <a:pt x="91324" y="2360994"/>
                  </a:lnTo>
                  <a:lnTo>
                    <a:pt x="86356" y="2375384"/>
                  </a:lnTo>
                  <a:lnTo>
                    <a:pt x="84597" y="2380552"/>
                  </a:lnTo>
                  <a:close/>
                </a:path>
                <a:path w="1390650" h="2380615">
                  <a:moveTo>
                    <a:pt x="125155" y="2267964"/>
                  </a:moveTo>
                  <a:lnTo>
                    <a:pt x="96561" y="2267964"/>
                  </a:lnTo>
                  <a:lnTo>
                    <a:pt x="107174" y="2239819"/>
                  </a:lnTo>
                  <a:lnTo>
                    <a:pt x="119141" y="2208617"/>
                  </a:lnTo>
                  <a:lnTo>
                    <a:pt x="147170" y="2137384"/>
                  </a:lnTo>
                  <a:lnTo>
                    <a:pt x="163252" y="2097523"/>
                  </a:lnTo>
                  <a:lnTo>
                    <a:pt x="180726" y="2054944"/>
                  </a:lnTo>
                  <a:lnTo>
                    <a:pt x="199602" y="2009734"/>
                  </a:lnTo>
                  <a:lnTo>
                    <a:pt x="219888" y="1961977"/>
                  </a:lnTo>
                  <a:lnTo>
                    <a:pt x="241594" y="1911759"/>
                  </a:lnTo>
                  <a:lnTo>
                    <a:pt x="264732" y="1859163"/>
                  </a:lnTo>
                  <a:lnTo>
                    <a:pt x="289309" y="1804275"/>
                  </a:lnTo>
                  <a:lnTo>
                    <a:pt x="315336" y="1747181"/>
                  </a:lnTo>
                  <a:lnTo>
                    <a:pt x="342823" y="1687965"/>
                  </a:lnTo>
                  <a:lnTo>
                    <a:pt x="371780" y="1626711"/>
                  </a:lnTo>
                  <a:lnTo>
                    <a:pt x="403495" y="1560996"/>
                  </a:lnTo>
                  <a:lnTo>
                    <a:pt x="437514" y="1491951"/>
                  </a:lnTo>
                  <a:lnTo>
                    <a:pt x="455390" y="1456235"/>
                  </a:lnTo>
                  <a:lnTo>
                    <a:pt x="473843" y="1419751"/>
                  </a:lnTo>
                  <a:lnTo>
                    <a:pt x="492876" y="1382522"/>
                  </a:lnTo>
                  <a:lnTo>
                    <a:pt x="512489" y="1344569"/>
                  </a:lnTo>
                  <a:lnTo>
                    <a:pt x="532682" y="1305914"/>
                  </a:lnTo>
                  <a:lnTo>
                    <a:pt x="553457" y="1266579"/>
                  </a:lnTo>
                  <a:lnTo>
                    <a:pt x="574814" y="1226586"/>
                  </a:lnTo>
                  <a:lnTo>
                    <a:pt x="596754" y="1185955"/>
                  </a:lnTo>
                  <a:lnTo>
                    <a:pt x="619278" y="1144710"/>
                  </a:lnTo>
                  <a:lnTo>
                    <a:pt x="642387" y="1102871"/>
                  </a:lnTo>
                  <a:lnTo>
                    <a:pt x="666080" y="1060460"/>
                  </a:lnTo>
                  <a:lnTo>
                    <a:pt x="690360" y="1017500"/>
                  </a:lnTo>
                  <a:lnTo>
                    <a:pt x="715227" y="974011"/>
                  </a:lnTo>
                  <a:lnTo>
                    <a:pt x="740681" y="930016"/>
                  </a:lnTo>
                  <a:lnTo>
                    <a:pt x="766724" y="885536"/>
                  </a:lnTo>
                  <a:lnTo>
                    <a:pt x="793356" y="840594"/>
                  </a:lnTo>
                  <a:lnTo>
                    <a:pt x="820578" y="795209"/>
                  </a:lnTo>
                  <a:lnTo>
                    <a:pt x="848391" y="749406"/>
                  </a:lnTo>
                  <a:lnTo>
                    <a:pt x="876795" y="703204"/>
                  </a:lnTo>
                  <a:lnTo>
                    <a:pt x="905792" y="656626"/>
                  </a:lnTo>
                  <a:lnTo>
                    <a:pt x="935382" y="609694"/>
                  </a:lnTo>
                  <a:lnTo>
                    <a:pt x="965566" y="562429"/>
                  </a:lnTo>
                  <a:lnTo>
                    <a:pt x="996344" y="514854"/>
                  </a:lnTo>
                  <a:lnTo>
                    <a:pt x="1027718" y="466988"/>
                  </a:lnTo>
                  <a:lnTo>
                    <a:pt x="1059688" y="418856"/>
                  </a:lnTo>
                  <a:lnTo>
                    <a:pt x="1092255" y="370478"/>
                  </a:lnTo>
                  <a:lnTo>
                    <a:pt x="1125420" y="321875"/>
                  </a:lnTo>
                  <a:lnTo>
                    <a:pt x="1159184" y="273070"/>
                  </a:lnTo>
                  <a:lnTo>
                    <a:pt x="1193547" y="224085"/>
                  </a:lnTo>
                  <a:lnTo>
                    <a:pt x="1228510" y="174941"/>
                  </a:lnTo>
                  <a:lnTo>
                    <a:pt x="1264074" y="125659"/>
                  </a:lnTo>
                  <a:lnTo>
                    <a:pt x="1300239" y="76262"/>
                  </a:lnTo>
                  <a:lnTo>
                    <a:pt x="1337008" y="26772"/>
                  </a:lnTo>
                  <a:lnTo>
                    <a:pt x="1370171" y="26772"/>
                  </a:lnTo>
                  <a:lnTo>
                    <a:pt x="1339903" y="67078"/>
                  </a:lnTo>
                  <a:lnTo>
                    <a:pt x="1290519" y="134155"/>
                  </a:lnTo>
                  <a:lnTo>
                    <a:pt x="1242220" y="201054"/>
                  </a:lnTo>
                  <a:lnTo>
                    <a:pt x="1194999" y="267734"/>
                  </a:lnTo>
                  <a:lnTo>
                    <a:pt x="1148851" y="334151"/>
                  </a:lnTo>
                  <a:lnTo>
                    <a:pt x="1103771" y="400262"/>
                  </a:lnTo>
                  <a:lnTo>
                    <a:pt x="1059753" y="466027"/>
                  </a:lnTo>
                  <a:lnTo>
                    <a:pt x="1016791" y="531401"/>
                  </a:lnTo>
                  <a:lnTo>
                    <a:pt x="974879" y="596342"/>
                  </a:lnTo>
                  <a:lnTo>
                    <a:pt x="934012" y="660808"/>
                  </a:lnTo>
                  <a:lnTo>
                    <a:pt x="894185" y="724756"/>
                  </a:lnTo>
                  <a:lnTo>
                    <a:pt x="855391" y="788143"/>
                  </a:lnTo>
                  <a:lnTo>
                    <a:pt x="817625" y="850928"/>
                  </a:lnTo>
                  <a:lnTo>
                    <a:pt x="780881" y="913067"/>
                  </a:lnTo>
                  <a:lnTo>
                    <a:pt x="745154" y="974517"/>
                  </a:lnTo>
                  <a:lnTo>
                    <a:pt x="710437" y="1035237"/>
                  </a:lnTo>
                  <a:lnTo>
                    <a:pt x="676673" y="1095280"/>
                  </a:lnTo>
                  <a:lnTo>
                    <a:pt x="644016" y="1154314"/>
                  </a:lnTo>
                  <a:lnTo>
                    <a:pt x="612298" y="1212587"/>
                  </a:lnTo>
                  <a:lnTo>
                    <a:pt x="581570" y="1269958"/>
                  </a:lnTo>
                  <a:lnTo>
                    <a:pt x="551824" y="1326386"/>
                  </a:lnTo>
                  <a:lnTo>
                    <a:pt x="523055" y="1381827"/>
                  </a:lnTo>
                  <a:lnTo>
                    <a:pt x="495258" y="1436240"/>
                  </a:lnTo>
                  <a:lnTo>
                    <a:pt x="468426" y="1489581"/>
                  </a:lnTo>
                  <a:lnTo>
                    <a:pt x="442555" y="1541809"/>
                  </a:lnTo>
                  <a:lnTo>
                    <a:pt x="417638" y="1592880"/>
                  </a:lnTo>
                  <a:lnTo>
                    <a:pt x="393671" y="1642752"/>
                  </a:lnTo>
                  <a:lnTo>
                    <a:pt x="370646" y="1691383"/>
                  </a:lnTo>
                  <a:lnTo>
                    <a:pt x="348559" y="1738730"/>
                  </a:lnTo>
                  <a:lnTo>
                    <a:pt x="327404" y="1784750"/>
                  </a:lnTo>
                  <a:lnTo>
                    <a:pt x="307175" y="1829400"/>
                  </a:lnTo>
                  <a:lnTo>
                    <a:pt x="287867" y="1872639"/>
                  </a:lnTo>
                  <a:lnTo>
                    <a:pt x="269475" y="1914424"/>
                  </a:lnTo>
                  <a:lnTo>
                    <a:pt x="251991" y="1954711"/>
                  </a:lnTo>
                  <a:lnTo>
                    <a:pt x="235411" y="1993459"/>
                  </a:lnTo>
                  <a:lnTo>
                    <a:pt x="219729" y="2030625"/>
                  </a:lnTo>
                  <a:lnTo>
                    <a:pt x="204940" y="2066167"/>
                  </a:lnTo>
                  <a:lnTo>
                    <a:pt x="178016" y="2132205"/>
                  </a:lnTo>
                  <a:lnTo>
                    <a:pt x="154595" y="2191234"/>
                  </a:lnTo>
                  <a:lnTo>
                    <a:pt x="134630" y="2242913"/>
                  </a:lnTo>
                  <a:lnTo>
                    <a:pt x="125155" y="2267964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11146535" y="6465214"/>
            <a:ext cx="153670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1</a:t>
            </a:fld>
            <a:endParaRPr sz="1200">
              <a:latin typeface="Calibri"/>
              <a:cs typeface="Calibri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73735" y="1293952"/>
            <a:ext cx="9543415" cy="4142104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FF0000"/>
                </a:solidFill>
                <a:latin typeface="Ebrima"/>
                <a:cs typeface="Ebrima"/>
              </a:rPr>
              <a:t>Vizioni</a:t>
            </a:r>
            <a:endParaRPr sz="1600" dirty="0">
              <a:latin typeface="Ebrima"/>
              <a:cs typeface="Ebrima"/>
            </a:endParaRPr>
          </a:p>
          <a:p>
            <a:pPr marL="12700" marR="5080" algn="just">
              <a:lnSpc>
                <a:spcPct val="100000"/>
              </a:lnSpc>
              <a:spcBef>
                <a:spcPts val="25"/>
              </a:spcBef>
            </a:pP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jesh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pjesë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një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grupi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udhëheqës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të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igurimeve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dhe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hërbimeve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financiare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që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kërkon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vazhdimisht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rritje</a:t>
            </a:r>
            <a:r>
              <a:rPr sz="1400" spc="37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qëndrueshme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si edhe për t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rritur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vlerën e ndërmarrjes.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Ne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ëshirojm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të jemi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agjensia 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igurimit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zgjedhur,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e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ërkushtuar për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edukimin, shërbimin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he mbrojtjen 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familjeve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he bizneseve vendore me politikat më t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mira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he me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çmimin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e duhur.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Vizioni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ynë është të vendosim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tandardin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e përsosmëris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midis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ofruesve t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igurimeve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uke qenë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inovator,</a:t>
            </a:r>
            <a:r>
              <a:rPr sz="1400" spc="-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uke</a:t>
            </a:r>
            <a:r>
              <a:rPr sz="14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qenë i</a:t>
            </a:r>
            <a:r>
              <a:rPr sz="14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fortë</a:t>
            </a:r>
            <a:r>
              <a:rPr sz="14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financiarisht,</a:t>
            </a:r>
            <a:r>
              <a:rPr sz="1400" spc="-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uke</a:t>
            </a:r>
            <a:r>
              <a:rPr sz="14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iguruar</a:t>
            </a:r>
            <a:r>
              <a:rPr sz="1400" spc="-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mbështetjen</a:t>
            </a:r>
            <a:r>
              <a:rPr sz="14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h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hërbimin</a:t>
            </a:r>
            <a:r>
              <a:rPr sz="1400" spc="-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4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uhur</a:t>
            </a:r>
            <a:r>
              <a:rPr sz="14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ër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klientët</a:t>
            </a:r>
            <a:r>
              <a:rPr sz="14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anë.</a:t>
            </a:r>
            <a:endParaRPr sz="1400" dirty="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30"/>
              </a:spcBef>
            </a:pPr>
            <a:endParaRPr sz="1200" dirty="0">
              <a:latin typeface="Ebrima"/>
              <a:cs typeface="Ebrima"/>
            </a:endParaRPr>
          </a:p>
          <a:p>
            <a:pPr marL="12700">
              <a:lnSpc>
                <a:spcPct val="100000"/>
              </a:lnSpc>
            </a:pPr>
            <a:r>
              <a:rPr sz="1600" b="1" spc="-5" dirty="0">
                <a:solidFill>
                  <a:srgbClr val="FF0000"/>
                </a:solidFill>
                <a:latin typeface="Ebrima"/>
                <a:cs typeface="Ebrima"/>
              </a:rPr>
              <a:t>Misioni</a:t>
            </a:r>
            <a:endParaRPr sz="1600" dirty="0">
              <a:latin typeface="Ebrima"/>
              <a:cs typeface="Ebrima"/>
            </a:endParaRPr>
          </a:p>
          <a:p>
            <a:pPr marL="12700" marR="6350" algn="just">
              <a:lnSpc>
                <a:spcPct val="100000"/>
              </a:lnSpc>
              <a:spcBef>
                <a:spcPts val="20"/>
              </a:spcBef>
            </a:pP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Dedikimi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er te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qen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kompania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lider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ne Shqiperi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ne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saje te produkteve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kompetitive dh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herbimit</a:t>
            </a:r>
            <a:r>
              <a:rPr sz="1400" spc="37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m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kualitet</a:t>
            </a:r>
            <a:r>
              <a:rPr sz="1400" spc="37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10" dirty="0">
                <a:solidFill>
                  <a:srgbClr val="585858"/>
                </a:solidFill>
                <a:latin typeface="Ebrima"/>
                <a:cs typeface="Ebrima"/>
              </a:rPr>
              <a:t>qe </a:t>
            </a:r>
            <a:r>
              <a:rPr sz="14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ofrojme. Përpiqemi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që çdo ditë të veprojmë m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integritet; kërkojmë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h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përqafojmë larminë; dëgjojmë, edukojmë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he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mësojmë;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ofrojmë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zgjidhje;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gjenerojmë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energji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ozitive;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he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mbështesin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komunitetin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tonë.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Ne</a:t>
            </a:r>
            <a:r>
              <a:rPr sz="14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ofrojmë</a:t>
            </a:r>
            <a:r>
              <a:rPr sz="1400" spc="38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risi</a:t>
            </a:r>
            <a:r>
              <a:rPr sz="1400" spc="3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he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ërsosmëri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në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roduktet dh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hërbimet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ona.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N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gjithçka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që bëjmë,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jemi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përkushtuar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hkojmë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ërtej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pritshmërive.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Gjithmonë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o t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mbetemi fleksibël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h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inovues, në mënyrë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që t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jemi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n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gjendje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'i adresojm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nevojat në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varësi të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klientëve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anë.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N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krijojme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vlera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olide.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Ndergjegjshmeria per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CSR,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eshte arsyeja pse INTERSIG ësht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angazhuar ne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programe sociale dh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projekte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e dedikuar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kryesisht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ersonave m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mundesi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kufizuara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si edhe femijeve, t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cilet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janë e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ardhmja</a:t>
            </a:r>
            <a:r>
              <a:rPr sz="1400" spc="-4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jone.</a:t>
            </a:r>
            <a:endParaRPr sz="1400" dirty="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40"/>
              </a:spcBef>
            </a:pPr>
            <a:endParaRPr sz="1200" dirty="0">
              <a:latin typeface="Ebrima"/>
              <a:cs typeface="Ebrima"/>
            </a:endParaRPr>
          </a:p>
          <a:p>
            <a:pPr marL="12700" algn="just">
              <a:lnSpc>
                <a:spcPct val="100000"/>
              </a:lnSpc>
              <a:spcBef>
                <a:spcPts val="5"/>
              </a:spcBef>
            </a:pP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remtimi</a:t>
            </a:r>
            <a:r>
              <a:rPr sz="1400" spc="-4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yne:</a:t>
            </a:r>
            <a:r>
              <a:rPr sz="1400" spc="-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b="1" dirty="0">
                <a:solidFill>
                  <a:srgbClr val="FF0000"/>
                </a:solidFill>
                <a:latin typeface="Ebrima"/>
                <a:cs typeface="Ebrima"/>
              </a:rPr>
              <a:t>Make</a:t>
            </a:r>
            <a:r>
              <a:rPr sz="1400" b="1" spc="-10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400" b="1" spc="-5" dirty="0">
                <a:solidFill>
                  <a:srgbClr val="FF0000"/>
                </a:solidFill>
                <a:latin typeface="Ebrima"/>
                <a:cs typeface="Ebrima"/>
              </a:rPr>
              <a:t>Life</a:t>
            </a:r>
            <a:r>
              <a:rPr sz="1400" b="1" spc="-20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400" b="1" spc="-5" dirty="0">
                <a:solidFill>
                  <a:srgbClr val="FF0000"/>
                </a:solidFill>
                <a:latin typeface="Ebrima"/>
                <a:cs typeface="Ebrima"/>
              </a:rPr>
              <a:t>Easy!</a:t>
            </a:r>
            <a:endParaRPr sz="1400" dirty="0">
              <a:latin typeface="Ebrima"/>
              <a:cs typeface="Ebrima"/>
            </a:endParaRPr>
          </a:p>
          <a:p>
            <a:pPr marL="12700" algn="just">
              <a:lnSpc>
                <a:spcPct val="100000"/>
              </a:lnSpc>
            </a:pP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remtimi</a:t>
            </a:r>
            <a:r>
              <a:rPr sz="1400" spc="-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 VIG: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b="1" dirty="0">
                <a:solidFill>
                  <a:srgbClr val="FF0000"/>
                </a:solidFill>
                <a:latin typeface="Ebrima"/>
                <a:cs typeface="Ebrima"/>
              </a:rPr>
              <a:t>Protecting</a:t>
            </a:r>
            <a:r>
              <a:rPr sz="1400" b="1" spc="-30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400" b="1" spc="-5" dirty="0">
                <a:solidFill>
                  <a:srgbClr val="FF0000"/>
                </a:solidFill>
                <a:latin typeface="Ebrima"/>
                <a:cs typeface="Ebrima"/>
              </a:rPr>
              <a:t>What</a:t>
            </a:r>
            <a:r>
              <a:rPr sz="1400" b="1" spc="5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400" b="1" dirty="0">
                <a:solidFill>
                  <a:srgbClr val="FF0000"/>
                </a:solidFill>
                <a:latin typeface="Ebrima"/>
                <a:cs typeface="Ebrima"/>
              </a:rPr>
              <a:t>Matters!</a:t>
            </a:r>
            <a:endParaRPr sz="1400" dirty="0">
              <a:latin typeface="Ebrima"/>
              <a:cs typeface="Ebrima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4" name="object 4"/>
            <p:cNvSpPr/>
            <p:nvPr/>
          </p:nvSpPr>
          <p:spPr>
            <a:xfrm>
              <a:off x="0" y="961644"/>
              <a:ext cx="12192000" cy="45720"/>
            </a:xfrm>
            <a:custGeom>
              <a:avLst/>
              <a:gdLst/>
              <a:ahLst/>
              <a:cxnLst/>
              <a:rect l="l" t="t" r="r" b="b"/>
              <a:pathLst>
                <a:path w="12192000" h="45719">
                  <a:moveTo>
                    <a:pt x="12192000" y="0"/>
                  </a:moveTo>
                  <a:lnTo>
                    <a:pt x="0" y="0"/>
                  </a:lnTo>
                  <a:lnTo>
                    <a:pt x="0" y="45720"/>
                  </a:lnTo>
                  <a:lnTo>
                    <a:pt x="12192000" y="45720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000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510857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0" dirty="0"/>
              <a:t>Vizioni</a:t>
            </a:r>
            <a:r>
              <a:rPr spc="-5" dirty="0"/>
              <a:t> dhe Misioni</a:t>
            </a:r>
            <a:r>
              <a:rPr spc="10" dirty="0"/>
              <a:t> </a:t>
            </a:r>
            <a:r>
              <a:rPr spc="-5" dirty="0"/>
              <a:t>i</a:t>
            </a:r>
            <a:r>
              <a:rPr spc="-15" dirty="0"/>
              <a:t> </a:t>
            </a:r>
            <a:r>
              <a:rPr spc="-10" dirty="0"/>
              <a:t>Intersig</a:t>
            </a:r>
            <a:r>
              <a:rPr spc="15" dirty="0"/>
              <a:t> </a:t>
            </a:r>
            <a:r>
              <a:rPr spc="-10" dirty="0"/>
              <a:t>VIG</a:t>
            </a:r>
          </a:p>
        </p:txBody>
      </p:sp>
      <p:grpSp>
        <p:nvGrpSpPr>
          <p:cNvPr id="10" name="object 10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1" name="object 11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10</a:t>
            </a:fld>
            <a:endParaRPr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7"/>
            <a:ext cx="12192299" cy="6858507"/>
            <a:chOff x="0" y="17"/>
            <a:chExt cx="12192299" cy="6858507"/>
          </a:xfrm>
        </p:grpSpPr>
        <p:sp>
          <p:nvSpPr>
            <p:cNvPr id="3" name="object 3"/>
            <p:cNvSpPr/>
            <p:nvPr/>
          </p:nvSpPr>
          <p:spPr>
            <a:xfrm>
              <a:off x="0" y="961644"/>
              <a:ext cx="12192000" cy="45720"/>
            </a:xfrm>
            <a:custGeom>
              <a:avLst/>
              <a:gdLst/>
              <a:ahLst/>
              <a:cxnLst/>
              <a:rect l="l" t="t" r="r" b="b"/>
              <a:pathLst>
                <a:path w="12192000" h="45719">
                  <a:moveTo>
                    <a:pt x="12192000" y="0"/>
                  </a:moveTo>
                  <a:lnTo>
                    <a:pt x="0" y="0"/>
                  </a:lnTo>
                  <a:lnTo>
                    <a:pt x="0" y="45720"/>
                  </a:lnTo>
                  <a:lnTo>
                    <a:pt x="12192000" y="45720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000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442976" y="381076"/>
            <a:ext cx="282003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5" dirty="0">
                <a:solidFill>
                  <a:srgbClr val="FF0004"/>
                </a:solidFill>
                <a:latin typeface="Ebrima"/>
                <a:cs typeface="Ebrima"/>
              </a:rPr>
              <a:t>Stafi</a:t>
            </a:r>
            <a:r>
              <a:rPr sz="2800" spc="-35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2800" spc="-5" dirty="0">
                <a:solidFill>
                  <a:srgbClr val="FF0004"/>
                </a:solidFill>
                <a:latin typeface="Ebrima"/>
                <a:cs typeface="Ebrima"/>
              </a:rPr>
              <a:t>i</a:t>
            </a:r>
            <a:r>
              <a:rPr sz="2800" spc="-4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2800" spc="-5" dirty="0">
                <a:solidFill>
                  <a:srgbClr val="FF0004"/>
                </a:solidFill>
                <a:latin typeface="Ebrima"/>
                <a:cs typeface="Ebrima"/>
              </a:rPr>
              <a:t>Intersig</a:t>
            </a:r>
            <a:r>
              <a:rPr sz="2800" spc="-2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2800" spc="-10" dirty="0">
                <a:solidFill>
                  <a:srgbClr val="FF0004"/>
                </a:solidFill>
                <a:latin typeface="Ebrima"/>
                <a:cs typeface="Ebrima"/>
              </a:rPr>
              <a:t>VIG</a:t>
            </a:r>
            <a:endParaRPr sz="2800">
              <a:latin typeface="Ebrima"/>
              <a:cs typeface="Ebrima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5" name="object 15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944935" y="1237610"/>
            <a:ext cx="8488680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Një</a:t>
            </a:r>
            <a:r>
              <a:rPr sz="1600" spc="1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kujdes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i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veçantë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i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kushtohet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trajnimit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të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vazhdueshëm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të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punonjësve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tanë, në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mënyrë</a:t>
            </a:r>
            <a:r>
              <a:rPr sz="1600" spc="2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që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t’i </a:t>
            </a:r>
            <a:r>
              <a:rPr sz="1600" spc="-42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ofrojmë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klientëve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në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çdo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kohë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shërbimin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 e</a:t>
            </a:r>
            <a:r>
              <a:rPr sz="1600" spc="1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duhur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profesional.</a:t>
            </a:r>
            <a:endParaRPr sz="1600" dirty="0">
              <a:latin typeface="Ebrima"/>
              <a:cs typeface="Ebrima"/>
            </a:endParaRPr>
          </a:p>
        </p:txBody>
      </p:sp>
      <p:sp>
        <p:nvSpPr>
          <p:cNvPr id="18" name="object 1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11</a:t>
            </a:fld>
            <a:endParaRPr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976" y="1944467"/>
            <a:ext cx="3462527" cy="2048221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3466" y="1842284"/>
            <a:ext cx="3440813" cy="2096262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975" y="4053745"/>
            <a:ext cx="3462527" cy="2042255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34999" y="4037850"/>
            <a:ext cx="3452766" cy="2119885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7"/>
            <a:ext cx="12192299" cy="6858507"/>
            <a:chOff x="0" y="17"/>
            <a:chExt cx="12192299" cy="6858507"/>
          </a:xfrm>
        </p:grpSpPr>
        <p:sp>
          <p:nvSpPr>
            <p:cNvPr id="3" name="object 3"/>
            <p:cNvSpPr/>
            <p:nvPr/>
          </p:nvSpPr>
          <p:spPr>
            <a:xfrm>
              <a:off x="0" y="961644"/>
              <a:ext cx="12192000" cy="45720"/>
            </a:xfrm>
            <a:custGeom>
              <a:avLst/>
              <a:gdLst/>
              <a:ahLst/>
              <a:cxnLst/>
              <a:rect l="l" t="t" r="r" b="b"/>
              <a:pathLst>
                <a:path w="12192000" h="45719">
                  <a:moveTo>
                    <a:pt x="12192000" y="0"/>
                  </a:moveTo>
                  <a:lnTo>
                    <a:pt x="0" y="0"/>
                  </a:lnTo>
                  <a:lnTo>
                    <a:pt x="0" y="45720"/>
                  </a:lnTo>
                  <a:lnTo>
                    <a:pt x="12192000" y="45720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000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442976" y="381076"/>
            <a:ext cx="282003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5" dirty="0">
                <a:solidFill>
                  <a:srgbClr val="FF0004"/>
                </a:solidFill>
                <a:latin typeface="Ebrima"/>
                <a:cs typeface="Ebrima"/>
              </a:rPr>
              <a:t>Stafi</a:t>
            </a:r>
            <a:r>
              <a:rPr sz="2800" spc="-35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2800" spc="-5" dirty="0">
                <a:solidFill>
                  <a:srgbClr val="FF0004"/>
                </a:solidFill>
                <a:latin typeface="Ebrima"/>
                <a:cs typeface="Ebrima"/>
              </a:rPr>
              <a:t>i</a:t>
            </a:r>
            <a:r>
              <a:rPr sz="2800" spc="-4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2800" spc="-5" dirty="0">
                <a:solidFill>
                  <a:srgbClr val="FF0004"/>
                </a:solidFill>
                <a:latin typeface="Ebrima"/>
                <a:cs typeface="Ebrima"/>
              </a:rPr>
              <a:t>Intersig</a:t>
            </a:r>
            <a:r>
              <a:rPr sz="2800" spc="-2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2800" spc="-10" dirty="0">
                <a:solidFill>
                  <a:srgbClr val="FF0004"/>
                </a:solidFill>
                <a:latin typeface="Ebrima"/>
                <a:cs typeface="Ebrima"/>
              </a:rPr>
              <a:t>VIG</a:t>
            </a:r>
            <a:endParaRPr sz="2800">
              <a:latin typeface="Ebrima"/>
              <a:cs typeface="Ebrima"/>
            </a:endParaRPr>
          </a:p>
        </p:txBody>
      </p:sp>
      <p:grpSp>
        <p:nvGrpSpPr>
          <p:cNvPr id="14" name="object 14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5" name="object 15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6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" name="object 17"/>
          <p:cNvSpPr txBox="1"/>
          <p:nvPr/>
        </p:nvSpPr>
        <p:spPr>
          <a:xfrm>
            <a:off x="944935" y="1237610"/>
            <a:ext cx="8488680" cy="517449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FF0000"/>
                </a:solidFill>
                <a:latin typeface="Ebrima"/>
                <a:cs typeface="Ebrima"/>
              </a:rPr>
              <a:t>Një</a:t>
            </a:r>
            <a:r>
              <a:rPr sz="1600" spc="15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FF0000"/>
                </a:solidFill>
                <a:latin typeface="Ebrima"/>
                <a:cs typeface="Ebrima"/>
              </a:rPr>
              <a:t>kujdes</a:t>
            </a:r>
            <a:r>
              <a:rPr sz="1600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0"/>
                </a:solidFill>
                <a:latin typeface="Ebrima"/>
                <a:cs typeface="Ebrima"/>
              </a:rPr>
              <a:t>i</a:t>
            </a:r>
            <a:r>
              <a:rPr sz="1600" spc="5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0"/>
                </a:solidFill>
                <a:latin typeface="Ebrima"/>
                <a:cs typeface="Ebrima"/>
              </a:rPr>
              <a:t>veçantë</a:t>
            </a:r>
            <a:r>
              <a:rPr sz="1600" spc="-10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0"/>
                </a:solidFill>
                <a:latin typeface="Ebrima"/>
                <a:cs typeface="Ebrima"/>
              </a:rPr>
              <a:t>i</a:t>
            </a:r>
            <a:r>
              <a:rPr sz="1600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FF0000"/>
                </a:solidFill>
                <a:latin typeface="Ebrima"/>
                <a:cs typeface="Ebrima"/>
              </a:rPr>
              <a:t>kushtohet</a:t>
            </a:r>
            <a:r>
              <a:rPr sz="1600" spc="5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lang="en-US" sz="1600" spc="5" dirty="0" err="1" smtClean="0">
                <a:solidFill>
                  <a:srgbClr val="FF0000"/>
                </a:solidFill>
                <a:latin typeface="Ebrima"/>
                <a:cs typeface="Ebrima"/>
              </a:rPr>
              <a:t>motivimit</a:t>
            </a:r>
            <a:r>
              <a:rPr lang="en-US" sz="1600" spc="5" dirty="0" smtClean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600" spc="-5" dirty="0" err="1" smtClean="0">
                <a:solidFill>
                  <a:srgbClr val="FF0000"/>
                </a:solidFill>
                <a:latin typeface="Ebrima"/>
                <a:cs typeface="Ebrima"/>
              </a:rPr>
              <a:t>të</a:t>
            </a:r>
            <a:r>
              <a:rPr sz="1600" dirty="0" smtClean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0"/>
                </a:solidFill>
                <a:latin typeface="Ebrima"/>
                <a:cs typeface="Ebrima"/>
              </a:rPr>
              <a:t>vazhdueshëm</a:t>
            </a:r>
            <a:r>
              <a:rPr sz="1600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0"/>
                </a:solidFill>
                <a:latin typeface="Ebrima"/>
                <a:cs typeface="Ebrima"/>
              </a:rPr>
              <a:t>të</a:t>
            </a:r>
            <a:r>
              <a:rPr sz="1600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600" spc="-10" dirty="0" err="1">
                <a:solidFill>
                  <a:srgbClr val="FF0000"/>
                </a:solidFill>
                <a:latin typeface="Ebrima"/>
                <a:cs typeface="Ebrima"/>
              </a:rPr>
              <a:t>punonjësve</a:t>
            </a:r>
            <a:r>
              <a:rPr sz="1600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600" spc="-5" dirty="0" err="1" smtClean="0">
                <a:solidFill>
                  <a:srgbClr val="FF0000"/>
                </a:solidFill>
                <a:latin typeface="Ebrima"/>
                <a:cs typeface="Ebrima"/>
              </a:rPr>
              <a:t>tanë</a:t>
            </a:r>
            <a:r>
              <a:rPr lang="en-US" sz="1600" spc="-5" dirty="0" smtClean="0">
                <a:solidFill>
                  <a:srgbClr val="FF0000"/>
                </a:solidFill>
                <a:latin typeface="Ebrima"/>
                <a:cs typeface="Ebrima"/>
              </a:rPr>
              <a:t>.</a:t>
            </a:r>
          </a:p>
          <a:p>
            <a:pPr marL="12700" marR="5080" algn="ctr">
              <a:lnSpc>
                <a:spcPct val="100000"/>
              </a:lnSpc>
              <a:spcBef>
                <a:spcPts val="95"/>
              </a:spcBef>
            </a:pPr>
            <a:r>
              <a:rPr lang="en-US" sz="1600" spc="-5" dirty="0" smtClean="0">
                <a:solidFill>
                  <a:srgbClr val="FF0000"/>
                </a:solidFill>
                <a:latin typeface="Ebrima"/>
                <a:cs typeface="Ebrima"/>
              </a:rPr>
              <a:t>Staff Retreat</a:t>
            </a:r>
            <a:endParaRPr sz="1600" dirty="0">
              <a:solidFill>
                <a:srgbClr val="FF0000"/>
              </a:solidFill>
              <a:latin typeface="Ebrima"/>
              <a:cs typeface="Ebrima"/>
            </a:endParaRPr>
          </a:p>
        </p:txBody>
      </p:sp>
      <p:sp>
        <p:nvSpPr>
          <p:cNvPr id="18" name="object 1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12</a:t>
            </a:fld>
            <a:endParaRPr dirty="0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0571" y="4442010"/>
            <a:ext cx="2684790" cy="219474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0" y="2056373"/>
            <a:ext cx="4267835" cy="284244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962" y="2056372"/>
            <a:ext cx="4197015" cy="2842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9387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xmlns="" id="{8C03F932-A63A-DB1D-643E-3D822A23CC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1376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593217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5" dirty="0"/>
              <a:t>Tregu</a:t>
            </a:r>
            <a:r>
              <a:rPr dirty="0"/>
              <a:t> </a:t>
            </a:r>
            <a:r>
              <a:rPr spc="-5" dirty="0"/>
              <a:t>i </a:t>
            </a:r>
            <a:r>
              <a:rPr spc="-10" dirty="0"/>
              <a:t>Sigurimeve</a:t>
            </a:r>
            <a:r>
              <a:rPr spc="10" dirty="0"/>
              <a:t> </a:t>
            </a:r>
            <a:r>
              <a:rPr spc="-5" dirty="0"/>
              <a:t>në </a:t>
            </a:r>
            <a:r>
              <a:rPr spc="-10" dirty="0"/>
              <a:t>Shqipëri</a:t>
            </a:r>
            <a:r>
              <a:rPr spc="30" dirty="0"/>
              <a:t> </a:t>
            </a:r>
            <a:r>
              <a:rPr spc="-5" dirty="0"/>
              <a:t>-</a:t>
            </a:r>
            <a:r>
              <a:rPr dirty="0"/>
              <a:t> </a:t>
            </a:r>
            <a:r>
              <a:rPr spc="-5" dirty="0"/>
              <a:t>202</a:t>
            </a:r>
            <a:r>
              <a:rPr lang="en-US" spc="-5" dirty="0"/>
              <a:t>2</a:t>
            </a:r>
            <a:endParaRPr spc="-5" dirty="0"/>
          </a:p>
        </p:txBody>
      </p:sp>
      <p:grpSp>
        <p:nvGrpSpPr>
          <p:cNvPr id="3" name="object 3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4" name="object 4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408228" y="1232661"/>
            <a:ext cx="8841740" cy="4105611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99085" marR="5715" indent="-287020" algn="just">
              <a:lnSpc>
                <a:spcPct val="100000"/>
              </a:lnSpc>
              <a:spcBef>
                <a:spcPts val="95"/>
              </a:spcBef>
              <a:buFont typeface="Arial MT"/>
              <a:buChar char="•"/>
              <a:tabLst>
                <a:tab pos="299720" algn="l"/>
              </a:tabLst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Gjatë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vitit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202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2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, tregu i sigurimeve në Republikën e Shqipërisë pësoi një rritje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prej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9.16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% 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krahasuar me një vit më parë. Volumi i primeve të shkruara bruto është rritur me 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1,764,931 </a:t>
            </a:r>
            <a:r>
              <a:rPr lang="en-US" sz="1600" spc="-5" dirty="0" err="1">
                <a:solidFill>
                  <a:srgbClr val="585858"/>
                </a:solidFill>
                <a:latin typeface="Ebrima"/>
                <a:cs typeface="Ebrima"/>
              </a:rPr>
              <a:t>mij</a:t>
            </a:r>
            <a:r>
              <a:rPr lang="en-US" sz="1600" spc="-10" dirty="0" err="1">
                <a:solidFill>
                  <a:srgbClr val="585858"/>
                </a:solidFill>
                <a:latin typeface="Ebrima"/>
                <a:cs typeface="Ebrima"/>
              </a:rPr>
              <a:t>ë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lekë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duke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arritur</a:t>
            </a:r>
            <a:r>
              <a:rPr sz="16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vlerën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21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,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032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,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729 </a:t>
            </a:r>
            <a:r>
              <a:rPr lang="en-US" sz="1600" spc="-5" dirty="0" err="1">
                <a:solidFill>
                  <a:srgbClr val="585858"/>
                </a:solidFill>
                <a:latin typeface="Ebrima"/>
                <a:cs typeface="Ebrima"/>
              </a:rPr>
              <a:t>mijë</a:t>
            </a:r>
            <a:r>
              <a:rPr sz="16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lekë.</a:t>
            </a:r>
            <a:endParaRPr sz="1600" dirty="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20"/>
              </a:spcBef>
              <a:buClr>
                <a:srgbClr val="585858"/>
              </a:buClr>
              <a:buFont typeface="Arial MT"/>
              <a:buChar char="•"/>
            </a:pPr>
            <a:endParaRPr sz="1400" dirty="0">
              <a:latin typeface="Ebrima"/>
              <a:cs typeface="Ebrima"/>
            </a:endParaRPr>
          </a:p>
          <a:p>
            <a:pPr marL="299085" marR="6350" indent="-287020" algn="just">
              <a:lnSpc>
                <a:spcPct val="100000"/>
              </a:lnSpc>
              <a:buFont typeface="Arial MT"/>
              <a:buChar char="•"/>
              <a:tabLst>
                <a:tab pos="299720" algn="l"/>
              </a:tabLst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umri i kontratave të sigurimit të lidhura arriti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1,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325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,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231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, me një rritje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prej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12.93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% krahasuar 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e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jë vit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ë parë.</a:t>
            </a:r>
            <a:endParaRPr sz="1600" dirty="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20"/>
              </a:spcBef>
              <a:buClr>
                <a:srgbClr val="585858"/>
              </a:buClr>
              <a:buFont typeface="Arial MT"/>
              <a:buChar char="•"/>
            </a:pPr>
            <a:endParaRPr sz="1400" dirty="0">
              <a:latin typeface="Ebrima"/>
              <a:cs typeface="Ebrima"/>
            </a:endParaRPr>
          </a:p>
          <a:p>
            <a:pPr marL="299085" marR="5080" indent="-287020" algn="just">
              <a:lnSpc>
                <a:spcPct val="100000"/>
              </a:lnSpc>
              <a:buFont typeface="Arial MT"/>
              <a:buChar char="•"/>
              <a:tabLst>
                <a:tab pos="299720" algn="l"/>
              </a:tabLst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regu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beti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orientuar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ek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sigurimet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Jo-Jetës,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cilat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 err="1">
                <a:solidFill>
                  <a:srgbClr val="585858"/>
                </a:solidFill>
                <a:latin typeface="Ebrima"/>
                <a:cs typeface="Ebrima"/>
              </a:rPr>
              <a:t>sollën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91.75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%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vëllimit</a:t>
            </a:r>
            <a:r>
              <a:rPr sz="1600" spc="4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të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përgjithshëm të primeve, ndërsa sigurimet e Jetës </a:t>
            </a:r>
            <a:r>
              <a:rPr sz="1600" spc="-10" dirty="0" err="1">
                <a:solidFill>
                  <a:srgbClr val="585858"/>
                </a:solidFill>
                <a:latin typeface="Ebrima"/>
                <a:cs typeface="Ebrima"/>
              </a:rPr>
              <a:t>kanë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8.01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%.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Parë nga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këndvështrimi i ndarjes </a:t>
            </a:r>
            <a:r>
              <a:rPr sz="1600" spc="-4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ë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regut sipas llojit të sigurimit, i detyrueshëm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dhe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vullnetar, primet e shkruara bruto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të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sigurimit vullnetar </a:t>
            </a:r>
            <a:r>
              <a:rPr sz="1600" spc="-10" dirty="0" err="1">
                <a:solidFill>
                  <a:srgbClr val="585858"/>
                </a:solidFill>
                <a:latin typeface="Ebrima"/>
                <a:cs typeface="Ebrima"/>
              </a:rPr>
              <a:t>zënë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32.25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% dhe primet e shkruara bruto të sigurimit të detyrueshëm </a:t>
            </a:r>
            <a:r>
              <a:rPr sz="1600" spc="-10" dirty="0" err="1">
                <a:solidFill>
                  <a:srgbClr val="585858"/>
                </a:solidFill>
                <a:latin typeface="Ebrima"/>
                <a:cs typeface="Ebrima"/>
              </a:rPr>
              <a:t>zënë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67.75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%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otalit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 tregut.</a:t>
            </a:r>
            <a:endParaRPr sz="1600" dirty="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25"/>
              </a:spcBef>
              <a:buClr>
                <a:srgbClr val="585858"/>
              </a:buClr>
              <a:buFont typeface="Arial MT"/>
              <a:buChar char="•"/>
            </a:pPr>
            <a:endParaRPr sz="1400" dirty="0">
              <a:latin typeface="Ebrima"/>
              <a:cs typeface="Ebrima"/>
            </a:endParaRPr>
          </a:p>
          <a:p>
            <a:pPr marL="299085" marR="6350" indent="-287020" algn="just">
              <a:lnSpc>
                <a:spcPct val="100000"/>
              </a:lnSpc>
              <a:buFont typeface="Arial MT"/>
              <a:buChar char="•"/>
              <a:tabLst>
                <a:tab pos="299720" algn="l"/>
              </a:tabLst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Gjatë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vitit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202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2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, dëmet e paguara bruto në tregun e sigurimeve, 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arritën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ë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rreth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6,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830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,000 lekë, 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ose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2.39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%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më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lang="en-US" sz="1600" spc="-5" dirty="0" err="1">
                <a:solidFill>
                  <a:srgbClr val="585858"/>
                </a:solidFill>
                <a:latin typeface="Ebrima"/>
                <a:cs typeface="Ebrima"/>
              </a:rPr>
              <a:t>shume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e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ë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vitin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202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1.</a:t>
            </a:r>
            <a:endParaRPr sz="1400" dirty="0">
              <a:latin typeface="Ebrima"/>
              <a:cs typeface="Ebrima"/>
            </a:endParaRPr>
          </a:p>
          <a:p>
            <a:pPr marL="299085" indent="-287020">
              <a:lnSpc>
                <a:spcPct val="100000"/>
              </a:lnSpc>
              <a:spcBef>
                <a:spcPts val="5"/>
              </a:spcBef>
              <a:buFont typeface="Arial MT"/>
              <a:buChar char="•"/>
              <a:tabLst>
                <a:tab pos="299085" algn="l"/>
                <a:tab pos="299720" algn="l"/>
              </a:tabLst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dërkohë</a:t>
            </a:r>
            <a:r>
              <a:rPr sz="1600" spc="1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dëmet</a:t>
            </a:r>
            <a:r>
              <a:rPr sz="1600" spc="1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600" spc="1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aguara</a:t>
            </a:r>
            <a:r>
              <a:rPr sz="1600" spc="1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bruto</a:t>
            </a:r>
            <a:r>
              <a:rPr sz="1600" spc="1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600" spc="1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sigurimin</a:t>
            </a:r>
            <a:r>
              <a:rPr sz="1600" spc="10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otorik</a:t>
            </a:r>
            <a:r>
              <a:rPr sz="1600" spc="1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për</a:t>
            </a:r>
            <a:r>
              <a:rPr sz="1600" spc="1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vitin</a:t>
            </a:r>
            <a:r>
              <a:rPr sz="1600" spc="114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202</a:t>
            </a:r>
            <a:r>
              <a:rPr lang="en-US" sz="1600" dirty="0">
                <a:solidFill>
                  <a:srgbClr val="585858"/>
                </a:solidFill>
                <a:latin typeface="Ebrima"/>
                <a:cs typeface="Ebrima"/>
              </a:rPr>
              <a:t>2</a:t>
            </a:r>
            <a:r>
              <a:rPr sz="1600" spc="1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kapën</a:t>
            </a:r>
            <a:r>
              <a:rPr sz="1600" spc="114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dirty="0" err="1">
                <a:solidFill>
                  <a:srgbClr val="585858"/>
                </a:solidFill>
                <a:latin typeface="Ebrima"/>
                <a:cs typeface="Ebrima"/>
              </a:rPr>
              <a:t>vlerën</a:t>
            </a:r>
            <a:r>
              <a:rPr sz="1600" spc="1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4,445,477</a:t>
            </a:r>
            <a:endParaRPr sz="1600" dirty="0">
              <a:latin typeface="Ebrima"/>
              <a:cs typeface="Ebrima"/>
            </a:endParaRPr>
          </a:p>
          <a:p>
            <a:pPr marL="299085">
              <a:lnSpc>
                <a:spcPct val="100000"/>
              </a:lnSpc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lekë,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duke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ësuar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jë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ritje</a:t>
            </a:r>
            <a:r>
              <a:rPr sz="16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e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rreth</a:t>
            </a:r>
            <a:r>
              <a:rPr sz="16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11.53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%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krahasuar</a:t>
            </a:r>
            <a:r>
              <a:rPr sz="1600" spc="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vitin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202</a:t>
            </a:r>
            <a:r>
              <a:rPr lang="en-US" sz="1600" dirty="0">
                <a:solidFill>
                  <a:srgbClr val="585858"/>
                </a:solidFill>
                <a:latin typeface="Ebrima"/>
                <a:cs typeface="Ebrima"/>
              </a:rPr>
              <a:t>1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.</a:t>
            </a:r>
            <a:endParaRPr sz="1600" dirty="0">
              <a:latin typeface="Ebrima"/>
              <a:cs typeface="Ebri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8984279" y="17"/>
            <a:ext cx="3208020" cy="6858000"/>
            <a:chOff x="8984279" y="17"/>
            <a:chExt cx="3208020" cy="6858000"/>
          </a:xfrm>
        </p:grpSpPr>
        <p:sp>
          <p:nvSpPr>
            <p:cNvPr id="8" name="object 8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13</a:t>
            </a:fld>
            <a:endParaRPr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815784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0" dirty="0"/>
              <a:t>Intersig</a:t>
            </a:r>
            <a:r>
              <a:rPr spc="5" dirty="0"/>
              <a:t> </a:t>
            </a:r>
            <a:r>
              <a:rPr spc="-10" dirty="0"/>
              <a:t>Vienna</a:t>
            </a:r>
            <a:r>
              <a:rPr spc="5" dirty="0"/>
              <a:t> </a:t>
            </a:r>
            <a:r>
              <a:rPr spc="-5" dirty="0"/>
              <a:t>Insurance</a:t>
            </a:r>
            <a:r>
              <a:rPr spc="5" dirty="0"/>
              <a:t> </a:t>
            </a:r>
            <a:r>
              <a:rPr spc="-10" dirty="0"/>
              <a:t>Group</a:t>
            </a:r>
            <a:r>
              <a:rPr spc="20" dirty="0"/>
              <a:t> </a:t>
            </a:r>
            <a:r>
              <a:rPr spc="-5" dirty="0"/>
              <a:t>në</a:t>
            </a:r>
            <a:r>
              <a:rPr dirty="0"/>
              <a:t> </a:t>
            </a:r>
            <a:r>
              <a:rPr spc="-5" dirty="0"/>
              <a:t>Tregun</a:t>
            </a:r>
            <a:r>
              <a:rPr spc="10" dirty="0"/>
              <a:t> </a:t>
            </a:r>
            <a:r>
              <a:rPr spc="-10" dirty="0"/>
              <a:t>Shqiptar</a:t>
            </a:r>
          </a:p>
        </p:txBody>
      </p:sp>
      <p:grpSp>
        <p:nvGrpSpPr>
          <p:cNvPr id="3" name="object 3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4" name="object 4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6" name="object 6"/>
          <p:cNvSpPr txBox="1"/>
          <p:nvPr/>
        </p:nvSpPr>
        <p:spPr>
          <a:xfrm>
            <a:off x="408228" y="1232661"/>
            <a:ext cx="8841105" cy="1000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762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Gjatë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vitit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202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2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,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ntersig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VIG</a:t>
            </a:r>
            <a:r>
              <a:rPr sz="16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ka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shkruar</a:t>
            </a:r>
            <a:r>
              <a:rPr sz="1600" spc="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rreth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1,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810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milion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lekë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rime,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duke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zotëruar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kështu 9.8%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të </a:t>
            </a:r>
            <a:r>
              <a:rPr sz="1600" spc="-4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regut.</a:t>
            </a:r>
            <a:endParaRPr sz="1600" dirty="0">
              <a:latin typeface="Ebrima"/>
              <a:cs typeface="Ebrima"/>
            </a:endParaRPr>
          </a:p>
          <a:p>
            <a:pPr marL="12700" marR="5080">
              <a:lnSpc>
                <a:spcPct val="100000"/>
              </a:lnSpc>
              <a:spcBef>
                <a:spcPts val="5"/>
              </a:spcBef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ntersig</a:t>
            </a:r>
            <a:r>
              <a:rPr sz="1600" spc="1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ka</a:t>
            </a:r>
            <a:r>
              <a:rPr sz="1600" spc="1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paguar</a:t>
            </a:r>
            <a:r>
              <a:rPr sz="1600" spc="2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rreth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lang="en-US" sz="1600" spc="185" dirty="0">
                <a:solidFill>
                  <a:srgbClr val="585858"/>
                </a:solidFill>
                <a:latin typeface="Ebrima"/>
                <a:cs typeface="Ebrima"/>
              </a:rPr>
              <a:t>534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ilion</a:t>
            </a:r>
            <a:r>
              <a:rPr sz="1600" spc="18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lekë</a:t>
            </a:r>
            <a:r>
              <a:rPr sz="1600" spc="2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Dëme</a:t>
            </a:r>
            <a:r>
              <a:rPr sz="1600" spc="1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gjatë</a:t>
            </a:r>
            <a:r>
              <a:rPr sz="1600" spc="1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vitit</a:t>
            </a:r>
            <a:r>
              <a:rPr sz="1600" spc="17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202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2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.</a:t>
            </a:r>
            <a:r>
              <a:rPr sz="1600" spc="204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umri</a:t>
            </a:r>
            <a:r>
              <a:rPr sz="1600" spc="1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600" spc="204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kërkesave</a:t>
            </a:r>
            <a:r>
              <a:rPr sz="1600" spc="1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2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Dëmeve</a:t>
            </a:r>
            <a:r>
              <a:rPr sz="1600" spc="1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të </a:t>
            </a:r>
            <a:r>
              <a:rPr sz="1600" spc="-4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aguara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nga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Intersig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gjatë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202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2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ësht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9781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ose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17,5</a:t>
            </a:r>
            <a:r>
              <a:rPr lang="en-US" sz="1600" spc="-5" dirty="0">
                <a:solidFill>
                  <a:srgbClr val="585858"/>
                </a:solidFill>
                <a:latin typeface="Ebrima"/>
                <a:cs typeface="Ebrima"/>
              </a:rPr>
              <a:t>6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% e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gjith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kërkesave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 tregut.</a:t>
            </a:r>
            <a:endParaRPr sz="1600" dirty="0">
              <a:latin typeface="Ebrima"/>
              <a:cs typeface="Ebri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350441" y="17"/>
            <a:ext cx="11841480" cy="6858000"/>
            <a:chOff x="350441" y="17"/>
            <a:chExt cx="11841480" cy="6858000"/>
          </a:xfrm>
        </p:grpSpPr>
        <p:sp>
          <p:nvSpPr>
            <p:cNvPr id="8" name="object 8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9698892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2" name="object 1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50441" y="3621841"/>
              <a:ext cx="2338734" cy="1384649"/>
            </a:xfrm>
            <a:prstGeom prst="rect">
              <a:avLst/>
            </a:prstGeom>
          </p:spPr>
        </p:pic>
      </p:grpSp>
      <p:sp>
        <p:nvSpPr>
          <p:cNvPr id="13" name="object 13"/>
          <p:cNvSpPr txBox="1"/>
          <p:nvPr/>
        </p:nvSpPr>
        <p:spPr>
          <a:xfrm>
            <a:off x="1534794" y="3664457"/>
            <a:ext cx="41148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9.80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1083970" y="4263390"/>
            <a:ext cx="377825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90.20</a:t>
            </a:r>
            <a:endParaRPr sz="120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22833" y="2822575"/>
            <a:ext cx="1996439" cy="457834"/>
          </a:xfrm>
          <a:prstGeom prst="rect">
            <a:avLst/>
          </a:prstGeom>
        </p:spPr>
        <p:txBody>
          <a:bodyPr vert="horz" wrap="square" lIns="0" tIns="8255" rIns="0" bIns="0" rtlCol="0">
            <a:spAutoFit/>
          </a:bodyPr>
          <a:lstStyle/>
          <a:p>
            <a:pPr marL="12700" marR="5080" indent="115570">
              <a:lnSpc>
                <a:spcPct val="102099"/>
              </a:lnSpc>
              <a:spcBef>
                <a:spcPts val="65"/>
              </a:spcBef>
            </a:pPr>
            <a:r>
              <a:rPr sz="1400" spc="-5" dirty="0">
                <a:solidFill>
                  <a:srgbClr val="585858"/>
                </a:solidFill>
                <a:latin typeface="Calibri"/>
                <a:cs typeface="Calibri"/>
              </a:rPr>
              <a:t>Primet </a:t>
            </a:r>
            <a:r>
              <a:rPr sz="1400" dirty="0">
                <a:solidFill>
                  <a:srgbClr val="585858"/>
                </a:solidFill>
                <a:latin typeface="Calibri"/>
                <a:cs typeface="Calibri"/>
              </a:rPr>
              <a:t>e </a:t>
            </a:r>
            <a:r>
              <a:rPr sz="1400" spc="-5" dirty="0">
                <a:solidFill>
                  <a:srgbClr val="585858"/>
                </a:solidFill>
                <a:latin typeface="Calibri"/>
                <a:cs typeface="Calibri"/>
              </a:rPr>
              <a:t>Shkruara Bruto </a:t>
            </a:r>
            <a:r>
              <a:rPr sz="140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Calibri"/>
                <a:cs typeface="Calibri"/>
              </a:rPr>
              <a:t>Shoqëri</a:t>
            </a:r>
            <a:r>
              <a:rPr sz="1400" spc="-1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Calibri"/>
                <a:cs typeface="Calibri"/>
              </a:rPr>
              <a:t>Sigurimi</a:t>
            </a:r>
            <a:r>
              <a:rPr sz="1400" spc="-2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585858"/>
                </a:solidFill>
                <a:latin typeface="Calibri"/>
                <a:cs typeface="Calibri"/>
              </a:rPr>
              <a:t>të</a:t>
            </a:r>
            <a:r>
              <a:rPr sz="1400" spc="-2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Calibri"/>
                <a:cs typeface="Calibri"/>
              </a:rPr>
              <a:t>Jo-Jetës</a:t>
            </a:r>
            <a:endParaRPr sz="1400">
              <a:latin typeface="Calibri"/>
              <a:cs typeface="Calibri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743648" y="5463476"/>
            <a:ext cx="109855" cy="109855"/>
            <a:chOff x="743648" y="5463476"/>
            <a:chExt cx="109855" cy="109855"/>
          </a:xfrm>
        </p:grpSpPr>
        <p:sp>
          <p:nvSpPr>
            <p:cNvPr id="17" name="object 17"/>
            <p:cNvSpPr/>
            <p:nvPr/>
          </p:nvSpPr>
          <p:spPr>
            <a:xfrm>
              <a:off x="756666" y="5476494"/>
              <a:ext cx="83820" cy="83820"/>
            </a:xfrm>
            <a:custGeom>
              <a:avLst/>
              <a:gdLst/>
              <a:ahLst/>
              <a:cxnLst/>
              <a:rect l="l" t="t" r="r" b="b"/>
              <a:pathLst>
                <a:path w="83819" h="83820">
                  <a:moveTo>
                    <a:pt x="83819" y="0"/>
                  </a:moveTo>
                  <a:lnTo>
                    <a:pt x="0" y="0"/>
                  </a:lnTo>
                  <a:lnTo>
                    <a:pt x="0" y="83819"/>
                  </a:lnTo>
                  <a:lnTo>
                    <a:pt x="83819" y="83819"/>
                  </a:lnTo>
                  <a:lnTo>
                    <a:pt x="83819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756666" y="5476494"/>
              <a:ext cx="83820" cy="83820"/>
            </a:xfrm>
            <a:custGeom>
              <a:avLst/>
              <a:gdLst/>
              <a:ahLst/>
              <a:cxnLst/>
              <a:rect l="l" t="t" r="r" b="b"/>
              <a:pathLst>
                <a:path w="83819" h="83820">
                  <a:moveTo>
                    <a:pt x="0" y="83819"/>
                  </a:moveTo>
                  <a:lnTo>
                    <a:pt x="83819" y="83819"/>
                  </a:lnTo>
                  <a:lnTo>
                    <a:pt x="83819" y="0"/>
                  </a:lnTo>
                  <a:lnTo>
                    <a:pt x="0" y="0"/>
                  </a:lnTo>
                  <a:lnTo>
                    <a:pt x="0" y="83819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9" name="object 19"/>
          <p:cNvSpPr txBox="1"/>
          <p:nvPr/>
        </p:nvSpPr>
        <p:spPr>
          <a:xfrm>
            <a:off x="865124" y="5398134"/>
            <a:ext cx="7435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Intersig</a:t>
            </a:r>
            <a:r>
              <a:rPr sz="1200" spc="-6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VIG</a:t>
            </a:r>
            <a:endParaRPr sz="1200">
              <a:latin typeface="Calibri"/>
              <a:cs typeface="Calibri"/>
            </a:endParaRPr>
          </a:p>
        </p:txBody>
      </p:sp>
      <p:grpSp>
        <p:nvGrpSpPr>
          <p:cNvPr id="20" name="object 20"/>
          <p:cNvGrpSpPr/>
          <p:nvPr/>
        </p:nvGrpSpPr>
        <p:grpSpPr>
          <a:xfrm>
            <a:off x="1731200" y="5463476"/>
            <a:ext cx="109855" cy="109855"/>
            <a:chOff x="1731200" y="5463476"/>
            <a:chExt cx="109855" cy="109855"/>
          </a:xfrm>
        </p:grpSpPr>
        <p:sp>
          <p:nvSpPr>
            <p:cNvPr id="21" name="object 21"/>
            <p:cNvSpPr/>
            <p:nvPr/>
          </p:nvSpPr>
          <p:spPr>
            <a:xfrm>
              <a:off x="1744218" y="5476494"/>
              <a:ext cx="83820" cy="83820"/>
            </a:xfrm>
            <a:custGeom>
              <a:avLst/>
              <a:gdLst/>
              <a:ahLst/>
              <a:cxnLst/>
              <a:rect l="l" t="t" r="r" b="b"/>
              <a:pathLst>
                <a:path w="83819" h="83820">
                  <a:moveTo>
                    <a:pt x="83819" y="0"/>
                  </a:moveTo>
                  <a:lnTo>
                    <a:pt x="0" y="0"/>
                  </a:lnTo>
                  <a:lnTo>
                    <a:pt x="0" y="83819"/>
                  </a:lnTo>
                  <a:lnTo>
                    <a:pt x="83819" y="83819"/>
                  </a:lnTo>
                  <a:lnTo>
                    <a:pt x="83819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22"/>
            <p:cNvSpPr/>
            <p:nvPr/>
          </p:nvSpPr>
          <p:spPr>
            <a:xfrm>
              <a:off x="1744218" y="5476494"/>
              <a:ext cx="83820" cy="83820"/>
            </a:xfrm>
            <a:custGeom>
              <a:avLst/>
              <a:gdLst/>
              <a:ahLst/>
              <a:cxnLst/>
              <a:rect l="l" t="t" r="r" b="b"/>
              <a:pathLst>
                <a:path w="83819" h="83820">
                  <a:moveTo>
                    <a:pt x="0" y="83819"/>
                  </a:moveTo>
                  <a:lnTo>
                    <a:pt x="83819" y="83819"/>
                  </a:lnTo>
                  <a:lnTo>
                    <a:pt x="83819" y="0"/>
                  </a:lnTo>
                  <a:lnTo>
                    <a:pt x="0" y="0"/>
                  </a:lnTo>
                  <a:lnTo>
                    <a:pt x="0" y="83819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3" name="object 23"/>
          <p:cNvSpPr txBox="1"/>
          <p:nvPr/>
        </p:nvSpPr>
        <p:spPr>
          <a:xfrm>
            <a:off x="1852422" y="5398134"/>
            <a:ext cx="501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T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ë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t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j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erë</a:t>
            </a:r>
            <a:endParaRPr sz="1200">
              <a:latin typeface="Calibri"/>
              <a:cs typeface="Calibri"/>
            </a:endParaRPr>
          </a:p>
        </p:txBody>
      </p:sp>
      <p:pic>
        <p:nvPicPr>
          <p:cNvPr id="24" name="object 2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875436" y="3501408"/>
            <a:ext cx="2337245" cy="1386244"/>
          </a:xfrm>
          <a:prstGeom prst="rect">
            <a:avLst/>
          </a:prstGeom>
        </p:spPr>
      </p:pic>
      <p:sp>
        <p:nvSpPr>
          <p:cNvPr id="25" name="object 25"/>
          <p:cNvSpPr txBox="1"/>
          <p:nvPr/>
        </p:nvSpPr>
        <p:spPr>
          <a:xfrm>
            <a:off x="5167121" y="3549522"/>
            <a:ext cx="377825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17.5</a:t>
            </a:r>
            <a:r>
              <a:rPr lang="en-US" sz="1200" b="1" dirty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420615" y="4121911"/>
            <a:ext cx="377825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82.50</a:t>
            </a:r>
            <a:endParaRPr sz="120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030726" y="2822575"/>
            <a:ext cx="2029460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585858"/>
                </a:solidFill>
                <a:latin typeface="Calibri"/>
                <a:cs typeface="Calibri"/>
              </a:rPr>
              <a:t>Dëmet</a:t>
            </a:r>
            <a:r>
              <a:rPr sz="1400" spc="-2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400" dirty="0">
                <a:solidFill>
                  <a:srgbClr val="585858"/>
                </a:solidFill>
                <a:latin typeface="Calibri"/>
                <a:cs typeface="Calibri"/>
              </a:rPr>
              <a:t>e</a:t>
            </a:r>
            <a:r>
              <a:rPr sz="1400" spc="-2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Calibri"/>
                <a:cs typeface="Calibri"/>
              </a:rPr>
              <a:t>paguara</a:t>
            </a:r>
            <a:r>
              <a:rPr sz="1400" spc="-2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Calibri"/>
                <a:cs typeface="Calibri"/>
              </a:rPr>
              <a:t>në</a:t>
            </a:r>
            <a:r>
              <a:rPr sz="1400" spc="-1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Calibri"/>
                <a:cs typeface="Calibri"/>
              </a:rPr>
              <a:t>Numër</a:t>
            </a:r>
            <a:endParaRPr sz="1400">
              <a:latin typeface="Calibri"/>
              <a:cs typeface="Calibri"/>
            </a:endParaRPr>
          </a:p>
        </p:txBody>
      </p:sp>
      <p:grpSp>
        <p:nvGrpSpPr>
          <p:cNvPr id="28" name="object 28"/>
          <p:cNvGrpSpPr/>
          <p:nvPr/>
        </p:nvGrpSpPr>
        <p:grpSpPr>
          <a:xfrm>
            <a:off x="4268660" y="5463476"/>
            <a:ext cx="109855" cy="109855"/>
            <a:chOff x="4268660" y="5463476"/>
            <a:chExt cx="109855" cy="109855"/>
          </a:xfrm>
        </p:grpSpPr>
        <p:sp>
          <p:nvSpPr>
            <p:cNvPr id="29" name="object 29"/>
            <p:cNvSpPr/>
            <p:nvPr/>
          </p:nvSpPr>
          <p:spPr>
            <a:xfrm>
              <a:off x="4281677" y="5476494"/>
              <a:ext cx="83820" cy="83820"/>
            </a:xfrm>
            <a:custGeom>
              <a:avLst/>
              <a:gdLst/>
              <a:ahLst/>
              <a:cxnLst/>
              <a:rect l="l" t="t" r="r" b="b"/>
              <a:pathLst>
                <a:path w="83820" h="83820">
                  <a:moveTo>
                    <a:pt x="83820" y="0"/>
                  </a:moveTo>
                  <a:lnTo>
                    <a:pt x="0" y="0"/>
                  </a:lnTo>
                  <a:lnTo>
                    <a:pt x="0" y="83819"/>
                  </a:lnTo>
                  <a:lnTo>
                    <a:pt x="83820" y="83819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30"/>
            <p:cNvSpPr/>
            <p:nvPr/>
          </p:nvSpPr>
          <p:spPr>
            <a:xfrm>
              <a:off x="4281677" y="5476494"/>
              <a:ext cx="83820" cy="83820"/>
            </a:xfrm>
            <a:custGeom>
              <a:avLst/>
              <a:gdLst/>
              <a:ahLst/>
              <a:cxnLst/>
              <a:rect l="l" t="t" r="r" b="b"/>
              <a:pathLst>
                <a:path w="83820" h="83820">
                  <a:moveTo>
                    <a:pt x="0" y="83819"/>
                  </a:moveTo>
                  <a:lnTo>
                    <a:pt x="83820" y="83819"/>
                  </a:lnTo>
                  <a:lnTo>
                    <a:pt x="83820" y="0"/>
                  </a:lnTo>
                  <a:lnTo>
                    <a:pt x="0" y="0"/>
                  </a:lnTo>
                  <a:lnTo>
                    <a:pt x="0" y="83819"/>
                  </a:lnTo>
                  <a:close/>
                </a:path>
              </a:pathLst>
            </a:custGeom>
            <a:ln w="2590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1" name="object 31"/>
          <p:cNvSpPr txBox="1"/>
          <p:nvPr/>
        </p:nvSpPr>
        <p:spPr>
          <a:xfrm>
            <a:off x="4389882" y="5398134"/>
            <a:ext cx="7435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Intersig</a:t>
            </a:r>
            <a:r>
              <a:rPr sz="1200" spc="-6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VIG</a:t>
            </a:r>
            <a:endParaRPr sz="1200">
              <a:latin typeface="Calibri"/>
              <a:cs typeface="Calibri"/>
            </a:endParaRPr>
          </a:p>
        </p:txBody>
      </p:sp>
      <p:grpSp>
        <p:nvGrpSpPr>
          <p:cNvPr id="32" name="object 32"/>
          <p:cNvGrpSpPr/>
          <p:nvPr/>
        </p:nvGrpSpPr>
        <p:grpSpPr>
          <a:xfrm>
            <a:off x="5256212" y="5463476"/>
            <a:ext cx="108585" cy="109855"/>
            <a:chOff x="5256212" y="5463476"/>
            <a:chExt cx="108585" cy="109855"/>
          </a:xfrm>
        </p:grpSpPr>
        <p:sp>
          <p:nvSpPr>
            <p:cNvPr id="33" name="object 33"/>
            <p:cNvSpPr/>
            <p:nvPr/>
          </p:nvSpPr>
          <p:spPr>
            <a:xfrm>
              <a:off x="5269229" y="5476494"/>
              <a:ext cx="82550" cy="83820"/>
            </a:xfrm>
            <a:custGeom>
              <a:avLst/>
              <a:gdLst/>
              <a:ahLst/>
              <a:cxnLst/>
              <a:rect l="l" t="t" r="r" b="b"/>
              <a:pathLst>
                <a:path w="82550" h="83820">
                  <a:moveTo>
                    <a:pt x="82296" y="0"/>
                  </a:moveTo>
                  <a:lnTo>
                    <a:pt x="0" y="0"/>
                  </a:lnTo>
                  <a:lnTo>
                    <a:pt x="0" y="83819"/>
                  </a:lnTo>
                  <a:lnTo>
                    <a:pt x="82296" y="83819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4" name="object 34"/>
            <p:cNvSpPr/>
            <p:nvPr/>
          </p:nvSpPr>
          <p:spPr>
            <a:xfrm>
              <a:off x="5269229" y="5476494"/>
              <a:ext cx="82550" cy="83820"/>
            </a:xfrm>
            <a:custGeom>
              <a:avLst/>
              <a:gdLst/>
              <a:ahLst/>
              <a:cxnLst/>
              <a:rect l="l" t="t" r="r" b="b"/>
              <a:pathLst>
                <a:path w="82550" h="83820">
                  <a:moveTo>
                    <a:pt x="0" y="83819"/>
                  </a:moveTo>
                  <a:lnTo>
                    <a:pt x="82296" y="83819"/>
                  </a:lnTo>
                  <a:lnTo>
                    <a:pt x="82296" y="0"/>
                  </a:lnTo>
                  <a:lnTo>
                    <a:pt x="0" y="0"/>
                  </a:lnTo>
                  <a:lnTo>
                    <a:pt x="0" y="83819"/>
                  </a:lnTo>
                  <a:close/>
                </a:path>
              </a:pathLst>
            </a:custGeom>
            <a:ln w="2590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5" name="object 35"/>
          <p:cNvSpPr txBox="1"/>
          <p:nvPr/>
        </p:nvSpPr>
        <p:spPr>
          <a:xfrm>
            <a:off x="5377053" y="5398134"/>
            <a:ext cx="501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T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ë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t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j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erë</a:t>
            </a:r>
            <a:endParaRPr sz="1200">
              <a:latin typeface="Calibri"/>
              <a:cs typeface="Calibri"/>
            </a:endParaRPr>
          </a:p>
        </p:txBody>
      </p:sp>
      <p:pic>
        <p:nvPicPr>
          <p:cNvPr id="36" name="object 36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7117080" y="3218688"/>
            <a:ext cx="2393442" cy="2029206"/>
          </a:xfrm>
          <a:prstGeom prst="rect">
            <a:avLst/>
          </a:prstGeom>
        </p:spPr>
      </p:pic>
      <p:sp>
        <p:nvSpPr>
          <p:cNvPr id="37" name="object 37"/>
          <p:cNvSpPr txBox="1"/>
          <p:nvPr/>
        </p:nvSpPr>
        <p:spPr>
          <a:xfrm>
            <a:off x="8309609" y="3553714"/>
            <a:ext cx="377825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en-US" sz="1200" b="1" dirty="0">
                <a:solidFill>
                  <a:srgbClr val="FFFFFF"/>
                </a:solidFill>
                <a:latin typeface="Calibri"/>
                <a:cs typeface="Calibri"/>
              </a:rPr>
              <a:t>8.54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7855456" y="4136897"/>
            <a:ext cx="548514" cy="3943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algn="ctr">
              <a:lnSpc>
                <a:spcPct val="100000"/>
              </a:lnSpc>
              <a:spcBef>
                <a:spcPts val="100"/>
              </a:spcBef>
            </a:pPr>
            <a:r>
              <a:rPr lang="en-US" sz="1200" b="1" dirty="0">
                <a:solidFill>
                  <a:srgbClr val="FFFFFF"/>
                </a:solidFill>
                <a:latin typeface="Calibri"/>
                <a:cs typeface="Calibri"/>
              </a:rPr>
              <a:t>91.46</a:t>
            </a:r>
            <a:endParaRPr sz="1200" dirty="0"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sz="1200" b="1" dirty="0">
                <a:solidFill>
                  <a:srgbClr val="FFFFFF"/>
                </a:solidFill>
                <a:latin typeface="Calibri"/>
                <a:cs typeface="Calibri"/>
              </a:rPr>
              <a:t>%</a:t>
            </a:r>
            <a:endParaRPr sz="1200" dirty="0">
              <a:latin typeface="Calibri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7363714" y="2822575"/>
            <a:ext cx="1904364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585858"/>
                </a:solidFill>
                <a:latin typeface="Calibri"/>
                <a:cs typeface="Calibri"/>
              </a:rPr>
              <a:t>Dëme</a:t>
            </a:r>
            <a:r>
              <a:rPr sz="1400" spc="-2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585858"/>
                </a:solidFill>
                <a:latin typeface="Calibri"/>
                <a:cs typeface="Calibri"/>
              </a:rPr>
              <a:t>të</a:t>
            </a:r>
            <a:r>
              <a:rPr sz="1400" spc="-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400" spc="-10" dirty="0">
                <a:solidFill>
                  <a:srgbClr val="585858"/>
                </a:solidFill>
                <a:latin typeface="Calibri"/>
                <a:cs typeface="Calibri"/>
              </a:rPr>
              <a:t>paguara</a:t>
            </a:r>
            <a:r>
              <a:rPr sz="1400" spc="-3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Calibri"/>
                <a:cs typeface="Calibri"/>
              </a:rPr>
              <a:t>në </a:t>
            </a:r>
            <a:r>
              <a:rPr sz="1400" spc="-10" dirty="0">
                <a:solidFill>
                  <a:srgbClr val="585858"/>
                </a:solidFill>
                <a:latin typeface="Calibri"/>
                <a:cs typeface="Calibri"/>
              </a:rPr>
              <a:t>Vlerë</a:t>
            </a:r>
            <a:endParaRPr sz="1400">
              <a:latin typeface="Calibri"/>
              <a:cs typeface="Calibri"/>
            </a:endParaRPr>
          </a:p>
        </p:txBody>
      </p:sp>
      <p:grpSp>
        <p:nvGrpSpPr>
          <p:cNvPr id="40" name="object 40"/>
          <p:cNvGrpSpPr/>
          <p:nvPr/>
        </p:nvGrpSpPr>
        <p:grpSpPr>
          <a:xfrm>
            <a:off x="7539164" y="5463476"/>
            <a:ext cx="108585" cy="109855"/>
            <a:chOff x="7539164" y="5463476"/>
            <a:chExt cx="108585" cy="109855"/>
          </a:xfrm>
        </p:grpSpPr>
        <p:sp>
          <p:nvSpPr>
            <p:cNvPr id="41" name="object 41"/>
            <p:cNvSpPr/>
            <p:nvPr/>
          </p:nvSpPr>
          <p:spPr>
            <a:xfrm>
              <a:off x="7552182" y="5476494"/>
              <a:ext cx="82550" cy="83820"/>
            </a:xfrm>
            <a:custGeom>
              <a:avLst/>
              <a:gdLst/>
              <a:ahLst/>
              <a:cxnLst/>
              <a:rect l="l" t="t" r="r" b="b"/>
              <a:pathLst>
                <a:path w="82550" h="83820">
                  <a:moveTo>
                    <a:pt x="82296" y="0"/>
                  </a:moveTo>
                  <a:lnTo>
                    <a:pt x="0" y="0"/>
                  </a:lnTo>
                  <a:lnTo>
                    <a:pt x="0" y="83819"/>
                  </a:lnTo>
                  <a:lnTo>
                    <a:pt x="82296" y="83819"/>
                  </a:lnTo>
                  <a:lnTo>
                    <a:pt x="82296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42"/>
            <p:cNvSpPr/>
            <p:nvPr/>
          </p:nvSpPr>
          <p:spPr>
            <a:xfrm>
              <a:off x="7552182" y="5476494"/>
              <a:ext cx="82550" cy="83820"/>
            </a:xfrm>
            <a:custGeom>
              <a:avLst/>
              <a:gdLst/>
              <a:ahLst/>
              <a:cxnLst/>
              <a:rect l="l" t="t" r="r" b="b"/>
              <a:pathLst>
                <a:path w="82550" h="83820">
                  <a:moveTo>
                    <a:pt x="0" y="83819"/>
                  </a:moveTo>
                  <a:lnTo>
                    <a:pt x="82296" y="83819"/>
                  </a:lnTo>
                  <a:lnTo>
                    <a:pt x="82296" y="0"/>
                  </a:lnTo>
                  <a:lnTo>
                    <a:pt x="0" y="0"/>
                  </a:lnTo>
                  <a:lnTo>
                    <a:pt x="0" y="83819"/>
                  </a:lnTo>
                  <a:close/>
                </a:path>
              </a:pathLst>
            </a:custGeom>
            <a:ln w="2590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3" name="object 43"/>
          <p:cNvSpPr txBox="1"/>
          <p:nvPr/>
        </p:nvSpPr>
        <p:spPr>
          <a:xfrm>
            <a:off x="7660385" y="5398134"/>
            <a:ext cx="74358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Intersig</a:t>
            </a:r>
            <a:r>
              <a:rPr sz="1200" spc="-6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VIG</a:t>
            </a:r>
            <a:endParaRPr sz="1200">
              <a:latin typeface="Calibri"/>
              <a:cs typeface="Calibri"/>
            </a:endParaRPr>
          </a:p>
        </p:txBody>
      </p:sp>
      <p:grpSp>
        <p:nvGrpSpPr>
          <p:cNvPr id="44" name="object 44"/>
          <p:cNvGrpSpPr/>
          <p:nvPr/>
        </p:nvGrpSpPr>
        <p:grpSpPr>
          <a:xfrm>
            <a:off x="8525256" y="5463540"/>
            <a:ext cx="109855" cy="109855"/>
            <a:chOff x="8525256" y="5463540"/>
            <a:chExt cx="109855" cy="109855"/>
          </a:xfrm>
        </p:grpSpPr>
        <p:sp>
          <p:nvSpPr>
            <p:cNvPr id="45" name="object 45"/>
            <p:cNvSpPr/>
            <p:nvPr/>
          </p:nvSpPr>
          <p:spPr>
            <a:xfrm>
              <a:off x="8538210" y="5476494"/>
              <a:ext cx="83820" cy="83820"/>
            </a:xfrm>
            <a:custGeom>
              <a:avLst/>
              <a:gdLst/>
              <a:ahLst/>
              <a:cxnLst/>
              <a:rect l="l" t="t" r="r" b="b"/>
              <a:pathLst>
                <a:path w="83820" h="83820">
                  <a:moveTo>
                    <a:pt x="83820" y="0"/>
                  </a:moveTo>
                  <a:lnTo>
                    <a:pt x="0" y="0"/>
                  </a:lnTo>
                  <a:lnTo>
                    <a:pt x="0" y="83819"/>
                  </a:lnTo>
                  <a:lnTo>
                    <a:pt x="83820" y="83819"/>
                  </a:lnTo>
                  <a:lnTo>
                    <a:pt x="83820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6" name="object 46"/>
            <p:cNvSpPr/>
            <p:nvPr/>
          </p:nvSpPr>
          <p:spPr>
            <a:xfrm>
              <a:off x="8538210" y="5476494"/>
              <a:ext cx="83820" cy="83820"/>
            </a:xfrm>
            <a:custGeom>
              <a:avLst/>
              <a:gdLst/>
              <a:ahLst/>
              <a:cxnLst/>
              <a:rect l="l" t="t" r="r" b="b"/>
              <a:pathLst>
                <a:path w="83820" h="83820">
                  <a:moveTo>
                    <a:pt x="0" y="83819"/>
                  </a:moveTo>
                  <a:lnTo>
                    <a:pt x="83820" y="83819"/>
                  </a:lnTo>
                  <a:lnTo>
                    <a:pt x="83820" y="0"/>
                  </a:lnTo>
                  <a:lnTo>
                    <a:pt x="0" y="0"/>
                  </a:lnTo>
                  <a:lnTo>
                    <a:pt x="0" y="83819"/>
                  </a:lnTo>
                  <a:close/>
                </a:path>
              </a:pathLst>
            </a:custGeom>
            <a:ln w="25907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7" name="object 47"/>
          <p:cNvSpPr txBox="1"/>
          <p:nvPr/>
        </p:nvSpPr>
        <p:spPr>
          <a:xfrm>
            <a:off x="8647556" y="5398134"/>
            <a:ext cx="50165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T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ë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200" spc="-10" dirty="0">
                <a:solidFill>
                  <a:srgbClr val="585858"/>
                </a:solidFill>
                <a:latin typeface="Calibri"/>
                <a:cs typeface="Calibri"/>
              </a:rPr>
              <a:t>t</a:t>
            </a:r>
            <a:r>
              <a:rPr sz="1200" spc="-5" dirty="0">
                <a:solidFill>
                  <a:srgbClr val="585858"/>
                </a:solidFill>
                <a:latin typeface="Calibri"/>
                <a:cs typeface="Calibri"/>
              </a:rPr>
              <a:t>j</a:t>
            </a:r>
            <a:r>
              <a:rPr sz="1200" dirty="0">
                <a:solidFill>
                  <a:srgbClr val="585858"/>
                </a:solidFill>
                <a:latin typeface="Calibri"/>
                <a:cs typeface="Calibri"/>
              </a:rPr>
              <a:t>erë</a:t>
            </a:r>
            <a:endParaRPr sz="1200">
              <a:latin typeface="Calibri"/>
              <a:cs typeface="Calibri"/>
            </a:endParaRPr>
          </a:p>
        </p:txBody>
      </p:sp>
      <p:sp>
        <p:nvSpPr>
          <p:cNvPr id="48" name="object 48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14</a:t>
            </a:fld>
            <a:endParaRPr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xmlns="" id="{61E72BD9-27B0-10EF-062C-7DCE4805AA8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5406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object 2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350774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5" dirty="0"/>
              <a:t>Tregues</a:t>
            </a:r>
            <a:r>
              <a:rPr spc="-25" dirty="0"/>
              <a:t> </a:t>
            </a:r>
            <a:r>
              <a:rPr spc="-5" dirty="0"/>
              <a:t>për</a:t>
            </a:r>
            <a:r>
              <a:rPr spc="-25" dirty="0"/>
              <a:t> </a:t>
            </a:r>
            <a:r>
              <a:rPr spc="-5" dirty="0" err="1"/>
              <a:t>vitin</a:t>
            </a:r>
            <a:r>
              <a:rPr spc="-25" dirty="0"/>
              <a:t> </a:t>
            </a:r>
            <a:r>
              <a:rPr spc="-5" dirty="0"/>
              <a:t>202</a:t>
            </a:r>
            <a:r>
              <a:rPr lang="en-US" spc="-5" dirty="0"/>
              <a:t>2</a:t>
            </a:r>
            <a:endParaRPr spc="-5" dirty="0"/>
          </a:p>
        </p:txBody>
      </p:sp>
      <p:grpSp>
        <p:nvGrpSpPr>
          <p:cNvPr id="8" name="object 8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9" name="object 9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aphicFrame>
        <p:nvGraphicFramePr>
          <p:cNvPr id="11" name="object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7394062"/>
              </p:ext>
            </p:extLst>
          </p:nvPr>
        </p:nvGraphicFramePr>
        <p:xfrm>
          <a:off x="1093419" y="2310510"/>
          <a:ext cx="8054340" cy="130263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80072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536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441451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40"/>
                        </a:spcBef>
                      </a:pPr>
                      <a:r>
                        <a:rPr sz="1800" spc="-2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Treguesi</a:t>
                      </a:r>
                      <a:r>
                        <a:rPr sz="1800" spc="-1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80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i </a:t>
                      </a:r>
                      <a:r>
                        <a:rPr sz="1800" spc="-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Mjaftueshmërisë</a:t>
                      </a:r>
                      <a:r>
                        <a:rPr sz="180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së</a:t>
                      </a:r>
                      <a:r>
                        <a:rPr sz="1800" spc="-1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 Kapitalit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30480" marB="0">
                    <a:lnL w="12700">
                      <a:solidFill>
                        <a:srgbClr val="FF0000"/>
                      </a:solidFill>
                      <a:prstDash val="solid"/>
                    </a:lnL>
                    <a:lnR w="12700">
                      <a:solidFill>
                        <a:srgbClr val="FF0000"/>
                      </a:solidFill>
                      <a:prstDash val="solid"/>
                    </a:lnR>
                    <a:lnT w="12700">
                      <a:solidFill>
                        <a:srgbClr val="FF0000"/>
                      </a:solidFill>
                      <a:prstDash val="solid"/>
                    </a:lnT>
                    <a:lnB w="12700">
                      <a:solidFill>
                        <a:srgbClr val="FF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40"/>
                        </a:spcBef>
                      </a:pPr>
                      <a:r>
                        <a:rPr sz="1800" spc="-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17</a:t>
                      </a:r>
                      <a:r>
                        <a:rPr lang="en-US" sz="1800" spc="-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6.71</a:t>
                      </a:r>
                      <a:r>
                        <a:rPr sz="1800" spc="-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%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30480" marB="0">
                    <a:lnL w="12700">
                      <a:solidFill>
                        <a:srgbClr val="FF0000"/>
                      </a:solidFill>
                      <a:prstDash val="solid"/>
                    </a:lnL>
                    <a:lnR w="12700">
                      <a:solidFill>
                        <a:srgbClr val="FF0000"/>
                      </a:solidFill>
                      <a:prstDash val="solid"/>
                    </a:lnR>
                    <a:lnT w="12700">
                      <a:solidFill>
                        <a:srgbClr val="FF0000"/>
                      </a:solidFill>
                      <a:prstDash val="solid"/>
                    </a:lnT>
                    <a:lnB w="12700">
                      <a:solidFill>
                        <a:srgbClr val="FF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30529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800" spc="-2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Treguesi</a:t>
                      </a:r>
                      <a:r>
                        <a:rPr sz="1800" spc="-1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80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i</a:t>
                      </a:r>
                      <a:r>
                        <a:rPr sz="1800" spc="-1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 Likuiditetit</a:t>
                      </a:r>
                      <a:r>
                        <a:rPr sz="1800" spc="2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(31</a:t>
                      </a:r>
                      <a:r>
                        <a:rPr sz="180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0" dirty="0" err="1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Dhjetor</a:t>
                      </a:r>
                      <a:r>
                        <a:rPr sz="1800" spc="-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80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202</a:t>
                      </a:r>
                      <a:r>
                        <a:rPr lang="en-US" sz="180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2</a:t>
                      </a:r>
                      <a:r>
                        <a:rPr sz="180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)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31115" marB="0">
                    <a:lnL w="12700">
                      <a:solidFill>
                        <a:srgbClr val="FF0000"/>
                      </a:solidFill>
                      <a:prstDash val="solid"/>
                    </a:lnL>
                    <a:lnR w="12700">
                      <a:solidFill>
                        <a:srgbClr val="FF0000"/>
                      </a:solidFill>
                      <a:prstDash val="solid"/>
                    </a:lnR>
                    <a:lnT w="12700">
                      <a:solidFill>
                        <a:srgbClr val="FF0000"/>
                      </a:solidFill>
                      <a:prstDash val="solid"/>
                    </a:lnT>
                    <a:lnB w="12700">
                      <a:solidFill>
                        <a:srgbClr val="FF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lang="en-US" sz="1800" spc="-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3.25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31115" marB="0">
                    <a:lnL w="12700">
                      <a:solidFill>
                        <a:srgbClr val="FF0000"/>
                      </a:solidFill>
                      <a:prstDash val="solid"/>
                    </a:lnL>
                    <a:lnR w="12700">
                      <a:solidFill>
                        <a:srgbClr val="FF0000"/>
                      </a:solidFill>
                      <a:prstDash val="solid"/>
                    </a:lnR>
                    <a:lnT w="12700">
                      <a:solidFill>
                        <a:srgbClr val="FF0000"/>
                      </a:solidFill>
                      <a:prstDash val="solid"/>
                    </a:lnT>
                    <a:lnB w="12700">
                      <a:solidFill>
                        <a:srgbClr val="FF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30657">
                <a:tc>
                  <a:txBody>
                    <a:bodyPr/>
                    <a:lstStyle/>
                    <a:p>
                      <a:pPr marL="91440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800" spc="-2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Treguesi</a:t>
                      </a:r>
                      <a:r>
                        <a:rPr sz="1800" spc="-1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në</a:t>
                      </a:r>
                      <a:r>
                        <a:rPr sz="1800" spc="-1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mbulimin</a:t>
                      </a:r>
                      <a:r>
                        <a:rPr sz="1800" spc="1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80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e</a:t>
                      </a:r>
                      <a:r>
                        <a:rPr sz="1800" spc="-1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provigjioneve</a:t>
                      </a:r>
                      <a:r>
                        <a:rPr sz="1800" spc="10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 </a:t>
                      </a:r>
                      <a:r>
                        <a:rPr sz="1800" spc="-1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teknike</a:t>
                      </a:r>
                      <a:endParaRPr sz="1800">
                        <a:latin typeface="Calibri"/>
                        <a:cs typeface="Calibri"/>
                      </a:endParaRPr>
                    </a:p>
                  </a:txBody>
                  <a:tcPr marL="0" marR="0" marT="31115" marB="0">
                    <a:lnL w="12700">
                      <a:solidFill>
                        <a:srgbClr val="FF0000"/>
                      </a:solidFill>
                      <a:prstDash val="solid"/>
                    </a:lnL>
                    <a:lnR w="12700">
                      <a:solidFill>
                        <a:srgbClr val="FF0000"/>
                      </a:solidFill>
                      <a:prstDash val="solid"/>
                    </a:lnR>
                    <a:lnT w="12700">
                      <a:solidFill>
                        <a:srgbClr val="FF0000"/>
                      </a:solidFill>
                      <a:prstDash val="solid"/>
                    </a:lnT>
                    <a:lnB w="12700">
                      <a:solidFill>
                        <a:srgbClr val="FF0000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45"/>
                        </a:spcBef>
                      </a:pPr>
                      <a:r>
                        <a:rPr sz="1800" spc="-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15</a:t>
                      </a:r>
                      <a:r>
                        <a:rPr lang="en-US" sz="1800" spc="-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6.22</a:t>
                      </a:r>
                      <a:r>
                        <a:rPr sz="1800" spc="-5" dirty="0">
                          <a:solidFill>
                            <a:srgbClr val="585858"/>
                          </a:solidFill>
                          <a:latin typeface="Calibri"/>
                          <a:cs typeface="Calibri"/>
                        </a:rPr>
                        <a:t>%</a:t>
                      </a:r>
                      <a:endParaRPr sz="1800" dirty="0">
                        <a:latin typeface="Calibri"/>
                        <a:cs typeface="Calibri"/>
                      </a:endParaRPr>
                    </a:p>
                  </a:txBody>
                  <a:tcPr marL="0" marR="0" marT="31115" marB="0">
                    <a:lnL w="12700">
                      <a:solidFill>
                        <a:srgbClr val="FF0000"/>
                      </a:solidFill>
                      <a:prstDash val="solid"/>
                    </a:lnL>
                    <a:lnR w="12700">
                      <a:solidFill>
                        <a:srgbClr val="FF0000"/>
                      </a:solidFill>
                      <a:prstDash val="solid"/>
                    </a:lnR>
                    <a:lnT w="12700">
                      <a:solidFill>
                        <a:srgbClr val="FF0000"/>
                      </a:solidFill>
                      <a:prstDash val="solid"/>
                    </a:lnT>
                    <a:lnB w="12700">
                      <a:solidFill>
                        <a:srgbClr val="FF0000"/>
                      </a:solidFill>
                      <a:prstDash val="soli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15</a:t>
            </a:fld>
            <a:endParaRPr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9710760" y="17"/>
            <a:ext cx="2481580" cy="6858000"/>
          </a:xfrm>
          <a:custGeom>
            <a:avLst/>
            <a:gdLst/>
            <a:ahLst/>
            <a:cxnLst/>
            <a:rect l="l" t="t" r="r" b="b"/>
            <a:pathLst>
              <a:path w="2481579" h="6858000">
                <a:moveTo>
                  <a:pt x="2481238" y="0"/>
                </a:moveTo>
                <a:lnTo>
                  <a:pt x="0" y="0"/>
                </a:lnTo>
                <a:lnTo>
                  <a:pt x="2187" y="2738"/>
                </a:lnTo>
                <a:lnTo>
                  <a:pt x="31716" y="40345"/>
                </a:lnTo>
                <a:lnTo>
                  <a:pt x="61003" y="78294"/>
                </a:lnTo>
                <a:lnTo>
                  <a:pt x="90045" y="116583"/>
                </a:lnTo>
                <a:lnTo>
                  <a:pt x="118844" y="155211"/>
                </a:lnTo>
                <a:lnTo>
                  <a:pt x="147397" y="194176"/>
                </a:lnTo>
                <a:lnTo>
                  <a:pt x="175705" y="233477"/>
                </a:lnTo>
                <a:lnTo>
                  <a:pt x="203767" y="273113"/>
                </a:lnTo>
                <a:lnTo>
                  <a:pt x="231581" y="313083"/>
                </a:lnTo>
                <a:lnTo>
                  <a:pt x="259148" y="353385"/>
                </a:lnTo>
                <a:lnTo>
                  <a:pt x="286467" y="394019"/>
                </a:lnTo>
                <a:lnTo>
                  <a:pt x="313537" y="434982"/>
                </a:lnTo>
                <a:lnTo>
                  <a:pt x="340357" y="476275"/>
                </a:lnTo>
                <a:lnTo>
                  <a:pt x="366927" y="517894"/>
                </a:lnTo>
                <a:lnTo>
                  <a:pt x="393245" y="559840"/>
                </a:lnTo>
                <a:lnTo>
                  <a:pt x="419312" y="602111"/>
                </a:lnTo>
                <a:lnTo>
                  <a:pt x="445127" y="644706"/>
                </a:lnTo>
                <a:lnTo>
                  <a:pt x="470688" y="687623"/>
                </a:lnTo>
                <a:lnTo>
                  <a:pt x="495996" y="730861"/>
                </a:lnTo>
                <a:lnTo>
                  <a:pt x="521049" y="774420"/>
                </a:lnTo>
                <a:lnTo>
                  <a:pt x="545848" y="818297"/>
                </a:lnTo>
                <a:lnTo>
                  <a:pt x="570390" y="862491"/>
                </a:lnTo>
                <a:lnTo>
                  <a:pt x="594676" y="907002"/>
                </a:lnTo>
                <a:lnTo>
                  <a:pt x="618705" y="951827"/>
                </a:lnTo>
                <a:lnTo>
                  <a:pt x="642476" y="996967"/>
                </a:lnTo>
                <a:lnTo>
                  <a:pt x="665989" y="1042419"/>
                </a:lnTo>
                <a:lnTo>
                  <a:pt x="689242" y="1088182"/>
                </a:lnTo>
                <a:lnTo>
                  <a:pt x="712236" y="1134255"/>
                </a:lnTo>
                <a:lnTo>
                  <a:pt x="734969" y="1180636"/>
                </a:lnTo>
                <a:lnTo>
                  <a:pt x="757441" y="1227326"/>
                </a:lnTo>
                <a:lnTo>
                  <a:pt x="779651" y="1274321"/>
                </a:lnTo>
                <a:lnTo>
                  <a:pt x="801599" y="1321621"/>
                </a:lnTo>
                <a:lnTo>
                  <a:pt x="823283" y="1369225"/>
                </a:lnTo>
                <a:lnTo>
                  <a:pt x="844703" y="1417132"/>
                </a:lnTo>
                <a:lnTo>
                  <a:pt x="865859" y="1465340"/>
                </a:lnTo>
                <a:lnTo>
                  <a:pt x="886750" y="1513847"/>
                </a:lnTo>
                <a:lnTo>
                  <a:pt x="907374" y="1562654"/>
                </a:lnTo>
                <a:lnTo>
                  <a:pt x="927732" y="1611758"/>
                </a:lnTo>
                <a:lnTo>
                  <a:pt x="947823" y="1661158"/>
                </a:lnTo>
                <a:lnTo>
                  <a:pt x="967646" y="1710853"/>
                </a:lnTo>
                <a:lnTo>
                  <a:pt x="987200" y="1760842"/>
                </a:lnTo>
                <a:lnTo>
                  <a:pt x="1006485" y="1811123"/>
                </a:lnTo>
                <a:lnTo>
                  <a:pt x="1025500" y="1861696"/>
                </a:lnTo>
                <a:lnTo>
                  <a:pt x="1044244" y="1912558"/>
                </a:lnTo>
                <a:lnTo>
                  <a:pt x="1060383" y="1957121"/>
                </a:lnTo>
                <a:lnTo>
                  <a:pt x="1076322" y="2001919"/>
                </a:lnTo>
                <a:lnTo>
                  <a:pt x="1092059" y="2046951"/>
                </a:lnTo>
                <a:lnTo>
                  <a:pt x="1107594" y="2092214"/>
                </a:lnTo>
                <a:lnTo>
                  <a:pt x="1122927" y="2137708"/>
                </a:lnTo>
                <a:lnTo>
                  <a:pt x="1138058" y="2183431"/>
                </a:lnTo>
                <a:lnTo>
                  <a:pt x="1152987" y="2229382"/>
                </a:lnTo>
                <a:lnTo>
                  <a:pt x="1167712" y="2275558"/>
                </a:lnTo>
                <a:lnTo>
                  <a:pt x="1182234" y="2321958"/>
                </a:lnTo>
                <a:lnTo>
                  <a:pt x="1196553" y="2368580"/>
                </a:lnTo>
                <a:lnTo>
                  <a:pt x="1210668" y="2415424"/>
                </a:lnTo>
                <a:lnTo>
                  <a:pt x="1224579" y="2462487"/>
                </a:lnTo>
                <a:lnTo>
                  <a:pt x="1238285" y="2509768"/>
                </a:lnTo>
                <a:lnTo>
                  <a:pt x="1251787" y="2557265"/>
                </a:lnTo>
                <a:lnTo>
                  <a:pt x="1265084" y="2604977"/>
                </a:lnTo>
                <a:lnTo>
                  <a:pt x="1278175" y="2652902"/>
                </a:lnTo>
                <a:lnTo>
                  <a:pt x="1291061" y="2701038"/>
                </a:lnTo>
                <a:lnTo>
                  <a:pt x="1303741" y="2749385"/>
                </a:lnTo>
                <a:lnTo>
                  <a:pt x="1316215" y="2797940"/>
                </a:lnTo>
                <a:lnTo>
                  <a:pt x="1328483" y="2846702"/>
                </a:lnTo>
                <a:lnTo>
                  <a:pt x="1340544" y="2895669"/>
                </a:lnTo>
                <a:lnTo>
                  <a:pt x="1352397" y="2944840"/>
                </a:lnTo>
                <a:lnTo>
                  <a:pt x="1364044" y="2994213"/>
                </a:lnTo>
                <a:lnTo>
                  <a:pt x="1375482" y="3043786"/>
                </a:lnTo>
                <a:lnTo>
                  <a:pt x="1386713" y="3093559"/>
                </a:lnTo>
                <a:lnTo>
                  <a:pt x="1397736" y="3143529"/>
                </a:lnTo>
                <a:lnTo>
                  <a:pt x="1408550" y="3193694"/>
                </a:lnTo>
                <a:lnTo>
                  <a:pt x="1419155" y="3244055"/>
                </a:lnTo>
                <a:lnTo>
                  <a:pt x="1429551" y="3294607"/>
                </a:lnTo>
                <a:lnTo>
                  <a:pt x="1439738" y="3345351"/>
                </a:lnTo>
                <a:lnTo>
                  <a:pt x="1449715" y="3396285"/>
                </a:lnTo>
                <a:lnTo>
                  <a:pt x="1459482" y="3447406"/>
                </a:lnTo>
                <a:lnTo>
                  <a:pt x="1469039" y="3498714"/>
                </a:lnTo>
                <a:lnTo>
                  <a:pt x="1478385" y="3550207"/>
                </a:lnTo>
                <a:lnTo>
                  <a:pt x="1487520" y="3601883"/>
                </a:lnTo>
                <a:lnTo>
                  <a:pt x="1496444" y="3653741"/>
                </a:lnTo>
                <a:lnTo>
                  <a:pt x="1505157" y="3705779"/>
                </a:lnTo>
                <a:lnTo>
                  <a:pt x="1513658" y="3757995"/>
                </a:lnTo>
                <a:lnTo>
                  <a:pt x="1521947" y="3810388"/>
                </a:lnTo>
                <a:lnTo>
                  <a:pt x="1530023" y="3862957"/>
                </a:lnTo>
                <a:lnTo>
                  <a:pt x="1537887" y="3915700"/>
                </a:lnTo>
                <a:lnTo>
                  <a:pt x="1545538" y="3968615"/>
                </a:lnTo>
                <a:lnTo>
                  <a:pt x="1552975" y="4021701"/>
                </a:lnTo>
                <a:lnTo>
                  <a:pt x="1562666" y="4093877"/>
                </a:lnTo>
                <a:lnTo>
                  <a:pt x="1571869" y="4165630"/>
                </a:lnTo>
                <a:lnTo>
                  <a:pt x="1580593" y="4236939"/>
                </a:lnTo>
                <a:lnTo>
                  <a:pt x="1588850" y="4307783"/>
                </a:lnTo>
                <a:lnTo>
                  <a:pt x="1596650" y="4378140"/>
                </a:lnTo>
                <a:lnTo>
                  <a:pt x="1604004" y="4447990"/>
                </a:lnTo>
                <a:lnTo>
                  <a:pt x="1610922" y="4517313"/>
                </a:lnTo>
                <a:lnTo>
                  <a:pt x="1617415" y="4586086"/>
                </a:lnTo>
                <a:lnTo>
                  <a:pt x="1623493" y="4654289"/>
                </a:lnTo>
                <a:lnTo>
                  <a:pt x="1629167" y="4721901"/>
                </a:lnTo>
                <a:lnTo>
                  <a:pt x="1634448" y="4788902"/>
                </a:lnTo>
                <a:lnTo>
                  <a:pt x="1639346" y="4855270"/>
                </a:lnTo>
                <a:lnTo>
                  <a:pt x="1643871" y="4920984"/>
                </a:lnTo>
                <a:lnTo>
                  <a:pt x="1648034" y="4986023"/>
                </a:lnTo>
                <a:lnTo>
                  <a:pt x="1651846" y="5050367"/>
                </a:lnTo>
                <a:lnTo>
                  <a:pt x="1655317" y="5113994"/>
                </a:lnTo>
                <a:lnTo>
                  <a:pt x="1658457" y="5176884"/>
                </a:lnTo>
                <a:lnTo>
                  <a:pt x="1661383" y="5241564"/>
                </a:lnTo>
                <a:lnTo>
                  <a:pt x="1663790" y="5300367"/>
                </a:lnTo>
                <a:lnTo>
                  <a:pt x="1666004" y="5360919"/>
                </a:lnTo>
                <a:lnTo>
                  <a:pt x="1667929" y="5420649"/>
                </a:lnTo>
                <a:lnTo>
                  <a:pt x="1669576" y="5479538"/>
                </a:lnTo>
                <a:lnTo>
                  <a:pt x="1670957" y="5537563"/>
                </a:lnTo>
                <a:lnTo>
                  <a:pt x="1672090" y="5595266"/>
                </a:lnTo>
                <a:lnTo>
                  <a:pt x="1672960" y="5650940"/>
                </a:lnTo>
                <a:lnTo>
                  <a:pt x="1673603" y="5706250"/>
                </a:lnTo>
                <a:lnTo>
                  <a:pt x="1674021" y="5760613"/>
                </a:lnTo>
                <a:lnTo>
                  <a:pt x="1674178" y="5879159"/>
                </a:lnTo>
                <a:lnTo>
                  <a:pt x="1674033" y="5917811"/>
                </a:lnTo>
                <a:lnTo>
                  <a:pt x="1673658" y="5968177"/>
                </a:lnTo>
                <a:lnTo>
                  <a:pt x="1673078" y="6019701"/>
                </a:lnTo>
                <a:lnTo>
                  <a:pt x="1672396" y="6066035"/>
                </a:lnTo>
                <a:lnTo>
                  <a:pt x="1671542" y="6112881"/>
                </a:lnTo>
                <a:lnTo>
                  <a:pt x="1670542" y="6158915"/>
                </a:lnTo>
                <a:lnTo>
                  <a:pt x="1669412" y="6203813"/>
                </a:lnTo>
                <a:lnTo>
                  <a:pt x="1668127" y="6248696"/>
                </a:lnTo>
                <a:lnTo>
                  <a:pt x="1666680" y="6293673"/>
                </a:lnTo>
                <a:lnTo>
                  <a:pt x="1663806" y="6371634"/>
                </a:lnTo>
                <a:lnTo>
                  <a:pt x="1662185" y="6410541"/>
                </a:lnTo>
                <a:lnTo>
                  <a:pt x="1658755" y="6484552"/>
                </a:lnTo>
                <a:lnTo>
                  <a:pt x="1655143" y="6553350"/>
                </a:lnTo>
                <a:lnTo>
                  <a:pt x="1651433" y="6616770"/>
                </a:lnTo>
                <a:lnTo>
                  <a:pt x="1647711" y="6674642"/>
                </a:lnTo>
                <a:lnTo>
                  <a:pt x="1644029" y="6727223"/>
                </a:lnTo>
                <a:lnTo>
                  <a:pt x="1640565" y="6773076"/>
                </a:lnTo>
                <a:lnTo>
                  <a:pt x="1637311" y="6813303"/>
                </a:lnTo>
                <a:lnTo>
                  <a:pt x="1633463" y="6857978"/>
                </a:lnTo>
                <a:lnTo>
                  <a:pt x="1653844" y="6857978"/>
                </a:lnTo>
                <a:lnTo>
                  <a:pt x="1686666" y="6810190"/>
                </a:lnTo>
                <a:lnTo>
                  <a:pt x="1714503" y="6768870"/>
                </a:lnTo>
                <a:lnTo>
                  <a:pt x="1742089" y="6727223"/>
                </a:lnTo>
                <a:lnTo>
                  <a:pt x="1769423" y="6685254"/>
                </a:lnTo>
                <a:lnTo>
                  <a:pt x="1796501" y="6642967"/>
                </a:lnTo>
                <a:lnTo>
                  <a:pt x="1823323" y="6600365"/>
                </a:lnTo>
                <a:lnTo>
                  <a:pt x="1849884" y="6557452"/>
                </a:lnTo>
                <a:lnTo>
                  <a:pt x="1876184" y="6514233"/>
                </a:lnTo>
                <a:lnTo>
                  <a:pt x="1902220" y="6470710"/>
                </a:lnTo>
                <a:lnTo>
                  <a:pt x="1927989" y="6426889"/>
                </a:lnTo>
                <a:lnTo>
                  <a:pt x="1953489" y="6382773"/>
                </a:lnTo>
                <a:lnTo>
                  <a:pt x="1978719" y="6338367"/>
                </a:lnTo>
                <a:lnTo>
                  <a:pt x="2003675" y="6293673"/>
                </a:lnTo>
                <a:lnTo>
                  <a:pt x="2028355" y="6248696"/>
                </a:lnTo>
                <a:lnTo>
                  <a:pt x="2052757" y="6203439"/>
                </a:lnTo>
                <a:lnTo>
                  <a:pt x="2076879" y="6157908"/>
                </a:lnTo>
                <a:lnTo>
                  <a:pt x="2100719" y="6112105"/>
                </a:lnTo>
                <a:lnTo>
                  <a:pt x="2124273" y="6066035"/>
                </a:lnTo>
                <a:lnTo>
                  <a:pt x="2147541" y="6019701"/>
                </a:lnTo>
                <a:lnTo>
                  <a:pt x="2170519" y="5973108"/>
                </a:lnTo>
                <a:lnTo>
                  <a:pt x="2193205" y="5926259"/>
                </a:lnTo>
                <a:lnTo>
                  <a:pt x="2215598" y="5879159"/>
                </a:lnTo>
                <a:lnTo>
                  <a:pt x="2237694" y="5831811"/>
                </a:lnTo>
                <a:lnTo>
                  <a:pt x="2259491" y="5784219"/>
                </a:lnTo>
                <a:lnTo>
                  <a:pt x="2287652" y="5721390"/>
                </a:lnTo>
                <a:lnTo>
                  <a:pt x="2315201" y="5658403"/>
                </a:lnTo>
                <a:lnTo>
                  <a:pt x="2342143" y="5595266"/>
                </a:lnTo>
                <a:lnTo>
                  <a:pt x="2368484" y="5531991"/>
                </a:lnTo>
                <a:lnTo>
                  <a:pt x="2394231" y="5468587"/>
                </a:lnTo>
                <a:lnTo>
                  <a:pt x="2419390" y="5405064"/>
                </a:lnTo>
                <a:lnTo>
                  <a:pt x="2443968" y="5341433"/>
                </a:lnTo>
                <a:lnTo>
                  <a:pt x="2467969" y="5277703"/>
                </a:lnTo>
                <a:lnTo>
                  <a:pt x="2481238" y="5241564"/>
                </a:lnTo>
                <a:lnTo>
                  <a:pt x="248123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441706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0" dirty="0"/>
              <a:t>Procesi </a:t>
            </a:r>
            <a:r>
              <a:rPr spc="-5" dirty="0"/>
              <a:t>i</a:t>
            </a:r>
            <a:r>
              <a:rPr spc="-15" dirty="0"/>
              <a:t> </a:t>
            </a:r>
            <a:r>
              <a:rPr spc="-10" dirty="0"/>
              <a:t>Vlerësimit </a:t>
            </a:r>
            <a:r>
              <a:rPr spc="-5" dirty="0"/>
              <a:t>të </a:t>
            </a:r>
            <a:r>
              <a:rPr spc="-10" dirty="0"/>
              <a:t>Riskut</a:t>
            </a:r>
          </a:p>
        </p:txBody>
      </p:sp>
      <p:grpSp>
        <p:nvGrpSpPr>
          <p:cNvPr id="4" name="object 4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5" name="object 5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7" name="object 7"/>
          <p:cNvGrpSpPr/>
          <p:nvPr/>
        </p:nvGrpSpPr>
        <p:grpSpPr>
          <a:xfrm>
            <a:off x="175177" y="12696"/>
            <a:ext cx="12017375" cy="6845300"/>
            <a:chOff x="175177" y="12696"/>
            <a:chExt cx="12017375" cy="6845300"/>
          </a:xfrm>
        </p:grpSpPr>
        <p:pic>
          <p:nvPicPr>
            <p:cNvPr id="8" name="object 8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75177" y="1510108"/>
              <a:ext cx="10430063" cy="4413718"/>
            </a:xfrm>
            <a:prstGeom prst="rect">
              <a:avLst/>
            </a:prstGeom>
          </p:spPr>
        </p:pic>
        <p:sp>
          <p:nvSpPr>
            <p:cNvPr id="9" name="object 9"/>
            <p:cNvSpPr/>
            <p:nvPr/>
          </p:nvSpPr>
          <p:spPr>
            <a:xfrm>
              <a:off x="9705412" y="12696"/>
              <a:ext cx="2486660" cy="6845300"/>
            </a:xfrm>
            <a:custGeom>
              <a:avLst/>
              <a:gdLst/>
              <a:ahLst/>
              <a:cxnLst/>
              <a:rect l="l" t="t" r="r" b="b"/>
              <a:pathLst>
                <a:path w="2486659" h="6845300">
                  <a:moveTo>
                    <a:pt x="20401" y="0"/>
                  </a:moveTo>
                  <a:lnTo>
                    <a:pt x="0" y="0"/>
                  </a:lnTo>
                  <a:lnTo>
                    <a:pt x="38524" y="50800"/>
                  </a:lnTo>
                  <a:lnTo>
                    <a:pt x="76466" y="101600"/>
                  </a:lnTo>
                  <a:lnTo>
                    <a:pt x="113830" y="152400"/>
                  </a:lnTo>
                  <a:lnTo>
                    <a:pt x="150620" y="203200"/>
                  </a:lnTo>
                  <a:lnTo>
                    <a:pt x="186840" y="254000"/>
                  </a:lnTo>
                  <a:lnTo>
                    <a:pt x="222496" y="304800"/>
                  </a:lnTo>
                  <a:lnTo>
                    <a:pt x="257590" y="355600"/>
                  </a:lnTo>
                  <a:lnTo>
                    <a:pt x="292128" y="406400"/>
                  </a:lnTo>
                  <a:lnTo>
                    <a:pt x="326113" y="457200"/>
                  </a:lnTo>
                  <a:lnTo>
                    <a:pt x="359550" y="508000"/>
                  </a:lnTo>
                  <a:lnTo>
                    <a:pt x="392443" y="558800"/>
                  </a:lnTo>
                  <a:lnTo>
                    <a:pt x="424797" y="622300"/>
                  </a:lnTo>
                  <a:lnTo>
                    <a:pt x="456615" y="673100"/>
                  </a:lnTo>
                  <a:lnTo>
                    <a:pt x="487903" y="723900"/>
                  </a:lnTo>
                  <a:lnTo>
                    <a:pt x="518663" y="774700"/>
                  </a:lnTo>
                  <a:lnTo>
                    <a:pt x="548902" y="825500"/>
                  </a:lnTo>
                  <a:lnTo>
                    <a:pt x="578622" y="889000"/>
                  </a:lnTo>
                  <a:lnTo>
                    <a:pt x="607828" y="939800"/>
                  </a:lnTo>
                  <a:lnTo>
                    <a:pt x="636524" y="990600"/>
                  </a:lnTo>
                  <a:lnTo>
                    <a:pt x="664715" y="1041400"/>
                  </a:lnTo>
                  <a:lnTo>
                    <a:pt x="692405" y="1104900"/>
                  </a:lnTo>
                  <a:lnTo>
                    <a:pt x="719598" y="1155700"/>
                  </a:lnTo>
                  <a:lnTo>
                    <a:pt x="746298" y="1206500"/>
                  </a:lnTo>
                  <a:lnTo>
                    <a:pt x="772511" y="1270000"/>
                  </a:lnTo>
                  <a:lnTo>
                    <a:pt x="798239" y="1320800"/>
                  </a:lnTo>
                  <a:lnTo>
                    <a:pt x="823488" y="1384300"/>
                  </a:lnTo>
                  <a:lnTo>
                    <a:pt x="848261" y="1435100"/>
                  </a:lnTo>
                  <a:lnTo>
                    <a:pt x="872563" y="1485900"/>
                  </a:lnTo>
                  <a:lnTo>
                    <a:pt x="896398" y="1549400"/>
                  </a:lnTo>
                  <a:lnTo>
                    <a:pt x="919770" y="1600200"/>
                  </a:lnTo>
                  <a:lnTo>
                    <a:pt x="942685" y="1663700"/>
                  </a:lnTo>
                  <a:lnTo>
                    <a:pt x="965145" y="1714500"/>
                  </a:lnTo>
                  <a:lnTo>
                    <a:pt x="987155" y="1765300"/>
                  </a:lnTo>
                  <a:lnTo>
                    <a:pt x="1008720" y="1828800"/>
                  </a:lnTo>
                  <a:lnTo>
                    <a:pt x="1029844" y="1879600"/>
                  </a:lnTo>
                  <a:lnTo>
                    <a:pt x="1050530" y="1943100"/>
                  </a:lnTo>
                  <a:lnTo>
                    <a:pt x="1070785" y="1993900"/>
                  </a:lnTo>
                  <a:lnTo>
                    <a:pt x="1090610" y="2057400"/>
                  </a:lnTo>
                  <a:lnTo>
                    <a:pt x="1110012" y="2108200"/>
                  </a:lnTo>
                  <a:lnTo>
                    <a:pt x="1128993" y="2171700"/>
                  </a:lnTo>
                  <a:lnTo>
                    <a:pt x="1147560" y="2222500"/>
                  </a:lnTo>
                  <a:lnTo>
                    <a:pt x="1165714" y="2286000"/>
                  </a:lnTo>
                  <a:lnTo>
                    <a:pt x="1183462" y="2336800"/>
                  </a:lnTo>
                  <a:lnTo>
                    <a:pt x="1200807" y="2400300"/>
                  </a:lnTo>
                  <a:lnTo>
                    <a:pt x="1217754" y="2451100"/>
                  </a:lnTo>
                  <a:lnTo>
                    <a:pt x="1234307" y="2514600"/>
                  </a:lnTo>
                  <a:lnTo>
                    <a:pt x="1250469" y="2565400"/>
                  </a:lnTo>
                  <a:lnTo>
                    <a:pt x="1266246" y="2628900"/>
                  </a:lnTo>
                  <a:lnTo>
                    <a:pt x="1281642" y="2679700"/>
                  </a:lnTo>
                  <a:lnTo>
                    <a:pt x="1296660" y="2743200"/>
                  </a:lnTo>
                  <a:lnTo>
                    <a:pt x="1311306" y="2794000"/>
                  </a:lnTo>
                  <a:lnTo>
                    <a:pt x="1325583" y="2857500"/>
                  </a:lnTo>
                  <a:lnTo>
                    <a:pt x="1339497" y="2908300"/>
                  </a:lnTo>
                  <a:lnTo>
                    <a:pt x="1353050" y="2959100"/>
                  </a:lnTo>
                  <a:lnTo>
                    <a:pt x="1366247" y="3022600"/>
                  </a:lnTo>
                  <a:lnTo>
                    <a:pt x="1379093" y="3073400"/>
                  </a:lnTo>
                  <a:lnTo>
                    <a:pt x="1391592" y="3136900"/>
                  </a:lnTo>
                  <a:lnTo>
                    <a:pt x="1403748" y="3187700"/>
                  </a:lnTo>
                  <a:lnTo>
                    <a:pt x="1415565" y="3251200"/>
                  </a:lnTo>
                  <a:lnTo>
                    <a:pt x="1427048" y="3302000"/>
                  </a:lnTo>
                  <a:lnTo>
                    <a:pt x="1438201" y="3352800"/>
                  </a:lnTo>
                  <a:lnTo>
                    <a:pt x="1449028" y="3416300"/>
                  </a:lnTo>
                  <a:lnTo>
                    <a:pt x="1459534" y="3467100"/>
                  </a:lnTo>
                  <a:lnTo>
                    <a:pt x="1469723" y="3530600"/>
                  </a:lnTo>
                  <a:lnTo>
                    <a:pt x="1479599" y="3581400"/>
                  </a:lnTo>
                  <a:lnTo>
                    <a:pt x="1489166" y="3632200"/>
                  </a:lnTo>
                  <a:lnTo>
                    <a:pt x="1498428" y="3695700"/>
                  </a:lnTo>
                  <a:lnTo>
                    <a:pt x="1507391" y="3746500"/>
                  </a:lnTo>
                  <a:lnTo>
                    <a:pt x="1516058" y="3797300"/>
                  </a:lnTo>
                  <a:lnTo>
                    <a:pt x="1524433" y="3860800"/>
                  </a:lnTo>
                  <a:lnTo>
                    <a:pt x="1532521" y="3911600"/>
                  </a:lnTo>
                  <a:lnTo>
                    <a:pt x="1540326" y="3962400"/>
                  </a:lnTo>
                  <a:lnTo>
                    <a:pt x="1547852" y="4013200"/>
                  </a:lnTo>
                  <a:lnTo>
                    <a:pt x="1555104" y="4076700"/>
                  </a:lnTo>
                  <a:lnTo>
                    <a:pt x="1562086" y="4127500"/>
                  </a:lnTo>
                  <a:lnTo>
                    <a:pt x="1568802" y="4178300"/>
                  </a:lnTo>
                  <a:lnTo>
                    <a:pt x="1575256" y="4229100"/>
                  </a:lnTo>
                  <a:lnTo>
                    <a:pt x="1581453" y="4279900"/>
                  </a:lnTo>
                  <a:lnTo>
                    <a:pt x="1587397" y="4330700"/>
                  </a:lnTo>
                  <a:lnTo>
                    <a:pt x="1593092" y="4381500"/>
                  </a:lnTo>
                  <a:lnTo>
                    <a:pt x="1598542" y="4445000"/>
                  </a:lnTo>
                  <a:lnTo>
                    <a:pt x="1603753" y="4495800"/>
                  </a:lnTo>
                  <a:lnTo>
                    <a:pt x="1608727" y="4546600"/>
                  </a:lnTo>
                  <a:lnTo>
                    <a:pt x="1613470" y="4597400"/>
                  </a:lnTo>
                  <a:lnTo>
                    <a:pt x="1617985" y="4648200"/>
                  </a:lnTo>
                  <a:lnTo>
                    <a:pt x="1622278" y="4699000"/>
                  </a:lnTo>
                  <a:lnTo>
                    <a:pt x="1626351" y="4737100"/>
                  </a:lnTo>
                  <a:lnTo>
                    <a:pt x="1630210" y="4787900"/>
                  </a:lnTo>
                  <a:lnTo>
                    <a:pt x="1633859" y="4838700"/>
                  </a:lnTo>
                  <a:lnTo>
                    <a:pt x="1637301" y="4889500"/>
                  </a:lnTo>
                  <a:lnTo>
                    <a:pt x="1640542" y="4940300"/>
                  </a:lnTo>
                  <a:lnTo>
                    <a:pt x="1643585" y="4991100"/>
                  </a:lnTo>
                  <a:lnTo>
                    <a:pt x="1646436" y="5029200"/>
                  </a:lnTo>
                  <a:lnTo>
                    <a:pt x="1649097" y="5080000"/>
                  </a:lnTo>
                  <a:lnTo>
                    <a:pt x="1651574" y="5130800"/>
                  </a:lnTo>
                  <a:lnTo>
                    <a:pt x="1653870" y="5181600"/>
                  </a:lnTo>
                  <a:lnTo>
                    <a:pt x="1655990" y="5219700"/>
                  </a:lnTo>
                  <a:lnTo>
                    <a:pt x="1657939" y="5270500"/>
                  </a:lnTo>
                  <a:lnTo>
                    <a:pt x="1659720" y="5308600"/>
                  </a:lnTo>
                  <a:lnTo>
                    <a:pt x="1661338" y="5359400"/>
                  </a:lnTo>
                  <a:lnTo>
                    <a:pt x="1662796" y="5397500"/>
                  </a:lnTo>
                  <a:lnTo>
                    <a:pt x="1664100" y="5448300"/>
                  </a:lnTo>
                  <a:lnTo>
                    <a:pt x="1665254" y="5486400"/>
                  </a:lnTo>
                  <a:lnTo>
                    <a:pt x="1666262" y="5537200"/>
                  </a:lnTo>
                  <a:lnTo>
                    <a:pt x="1667127" y="5575300"/>
                  </a:lnTo>
                  <a:lnTo>
                    <a:pt x="1667856" y="5613400"/>
                  </a:lnTo>
                  <a:lnTo>
                    <a:pt x="1668450" y="5651500"/>
                  </a:lnTo>
                  <a:lnTo>
                    <a:pt x="1669257" y="5740400"/>
                  </a:lnTo>
                  <a:lnTo>
                    <a:pt x="1669404" y="5765800"/>
                  </a:lnTo>
                  <a:lnTo>
                    <a:pt x="1669459" y="5892800"/>
                  </a:lnTo>
                  <a:lnTo>
                    <a:pt x="1669241" y="5930900"/>
                  </a:lnTo>
                  <a:lnTo>
                    <a:pt x="1668923" y="5969000"/>
                  </a:lnTo>
                  <a:lnTo>
                    <a:pt x="1668511" y="6007100"/>
                  </a:lnTo>
                  <a:lnTo>
                    <a:pt x="1668008" y="6045200"/>
                  </a:lnTo>
                  <a:lnTo>
                    <a:pt x="1667418" y="6070600"/>
                  </a:lnTo>
                  <a:lnTo>
                    <a:pt x="1666747" y="6108700"/>
                  </a:lnTo>
                  <a:lnTo>
                    <a:pt x="1665998" y="6146800"/>
                  </a:lnTo>
                  <a:lnTo>
                    <a:pt x="1665176" y="6184900"/>
                  </a:lnTo>
                  <a:lnTo>
                    <a:pt x="1664284" y="6210300"/>
                  </a:lnTo>
                  <a:lnTo>
                    <a:pt x="1663328" y="6248400"/>
                  </a:lnTo>
                  <a:lnTo>
                    <a:pt x="1662311" y="6273800"/>
                  </a:lnTo>
                  <a:lnTo>
                    <a:pt x="1661238" y="6311900"/>
                  </a:lnTo>
                  <a:lnTo>
                    <a:pt x="1660112" y="6337300"/>
                  </a:lnTo>
                  <a:lnTo>
                    <a:pt x="1658939" y="6362700"/>
                  </a:lnTo>
                  <a:lnTo>
                    <a:pt x="1657722" y="6400800"/>
                  </a:lnTo>
                  <a:lnTo>
                    <a:pt x="1656467" y="6426200"/>
                  </a:lnTo>
                  <a:lnTo>
                    <a:pt x="1653854" y="6477000"/>
                  </a:lnTo>
                  <a:lnTo>
                    <a:pt x="1651137" y="6527800"/>
                  </a:lnTo>
                  <a:lnTo>
                    <a:pt x="1645521" y="6629400"/>
                  </a:lnTo>
                  <a:lnTo>
                    <a:pt x="1644105" y="6642100"/>
                  </a:lnTo>
                  <a:lnTo>
                    <a:pt x="1641287" y="6692900"/>
                  </a:lnTo>
                  <a:lnTo>
                    <a:pt x="1639894" y="6705600"/>
                  </a:lnTo>
                  <a:lnTo>
                    <a:pt x="1638518" y="6731000"/>
                  </a:lnTo>
                  <a:lnTo>
                    <a:pt x="1635831" y="6756400"/>
                  </a:lnTo>
                  <a:lnTo>
                    <a:pt x="1634529" y="6781800"/>
                  </a:lnTo>
                  <a:lnTo>
                    <a:pt x="1633261" y="6794500"/>
                  </a:lnTo>
                  <a:lnTo>
                    <a:pt x="1632030" y="6807200"/>
                  </a:lnTo>
                  <a:lnTo>
                    <a:pt x="1630842" y="6819900"/>
                  </a:lnTo>
                  <a:lnTo>
                    <a:pt x="1628190" y="6845300"/>
                  </a:lnTo>
                  <a:lnTo>
                    <a:pt x="1650293" y="6845300"/>
                  </a:lnTo>
                  <a:lnTo>
                    <a:pt x="1650715" y="6832600"/>
                  </a:lnTo>
                  <a:lnTo>
                    <a:pt x="1651878" y="6832600"/>
                  </a:lnTo>
                  <a:lnTo>
                    <a:pt x="1654208" y="6794500"/>
                  </a:lnTo>
                  <a:lnTo>
                    <a:pt x="1656659" y="6769100"/>
                  </a:lnTo>
                  <a:lnTo>
                    <a:pt x="1659206" y="6731000"/>
                  </a:lnTo>
                  <a:lnTo>
                    <a:pt x="1661820" y="6705600"/>
                  </a:lnTo>
                  <a:lnTo>
                    <a:pt x="1664474" y="6654800"/>
                  </a:lnTo>
                  <a:lnTo>
                    <a:pt x="1669797" y="6578600"/>
                  </a:lnTo>
                  <a:lnTo>
                    <a:pt x="1672411" y="6527800"/>
                  </a:lnTo>
                  <a:lnTo>
                    <a:pt x="1674956" y="6477000"/>
                  </a:lnTo>
                  <a:lnTo>
                    <a:pt x="1677407" y="6426200"/>
                  </a:lnTo>
                  <a:lnTo>
                    <a:pt x="1679736" y="6375400"/>
                  </a:lnTo>
                  <a:lnTo>
                    <a:pt x="1681916" y="6324600"/>
                  </a:lnTo>
                  <a:lnTo>
                    <a:pt x="1683919" y="6261100"/>
                  </a:lnTo>
                  <a:lnTo>
                    <a:pt x="1685719" y="6197600"/>
                  </a:lnTo>
                  <a:lnTo>
                    <a:pt x="1687288" y="6146800"/>
                  </a:lnTo>
                  <a:lnTo>
                    <a:pt x="1688599" y="6070600"/>
                  </a:lnTo>
                  <a:lnTo>
                    <a:pt x="1689626" y="6007100"/>
                  </a:lnTo>
                  <a:lnTo>
                    <a:pt x="1690341" y="5943600"/>
                  </a:lnTo>
                  <a:lnTo>
                    <a:pt x="1690717" y="5867400"/>
                  </a:lnTo>
                  <a:lnTo>
                    <a:pt x="1690634" y="5778500"/>
                  </a:lnTo>
                  <a:lnTo>
                    <a:pt x="1690494" y="5740400"/>
                  </a:lnTo>
                  <a:lnTo>
                    <a:pt x="1690067" y="5689600"/>
                  </a:lnTo>
                  <a:lnTo>
                    <a:pt x="1689446" y="5638800"/>
                  </a:lnTo>
                  <a:lnTo>
                    <a:pt x="1688632" y="5588000"/>
                  </a:lnTo>
                  <a:lnTo>
                    <a:pt x="1687625" y="5537200"/>
                  </a:lnTo>
                  <a:lnTo>
                    <a:pt x="1686424" y="5486400"/>
                  </a:lnTo>
                  <a:lnTo>
                    <a:pt x="1685031" y="5435600"/>
                  </a:lnTo>
                  <a:lnTo>
                    <a:pt x="1683445" y="5384800"/>
                  </a:lnTo>
                  <a:lnTo>
                    <a:pt x="1681667" y="5334000"/>
                  </a:lnTo>
                  <a:lnTo>
                    <a:pt x="1679696" y="5283200"/>
                  </a:lnTo>
                  <a:lnTo>
                    <a:pt x="1677534" y="5232400"/>
                  </a:lnTo>
                  <a:lnTo>
                    <a:pt x="1675180" y="5181600"/>
                  </a:lnTo>
                  <a:lnTo>
                    <a:pt x="1672634" y="5130800"/>
                  </a:lnTo>
                  <a:lnTo>
                    <a:pt x="1669897" y="5067300"/>
                  </a:lnTo>
                  <a:lnTo>
                    <a:pt x="1666970" y="5016500"/>
                  </a:lnTo>
                  <a:lnTo>
                    <a:pt x="1663851" y="4965700"/>
                  </a:lnTo>
                  <a:lnTo>
                    <a:pt x="1660541" y="4914900"/>
                  </a:lnTo>
                  <a:lnTo>
                    <a:pt x="1657042" y="4864100"/>
                  </a:lnTo>
                  <a:lnTo>
                    <a:pt x="1653352" y="4813300"/>
                  </a:lnTo>
                  <a:lnTo>
                    <a:pt x="1649472" y="4762500"/>
                  </a:lnTo>
                  <a:lnTo>
                    <a:pt x="1645402" y="4711700"/>
                  </a:lnTo>
                  <a:lnTo>
                    <a:pt x="1641143" y="4660900"/>
                  </a:lnTo>
                  <a:lnTo>
                    <a:pt x="1636695" y="4610100"/>
                  </a:lnTo>
                  <a:lnTo>
                    <a:pt x="1632057" y="4559300"/>
                  </a:lnTo>
                  <a:lnTo>
                    <a:pt x="1627231" y="4508500"/>
                  </a:lnTo>
                  <a:lnTo>
                    <a:pt x="1622216" y="4457700"/>
                  </a:lnTo>
                  <a:lnTo>
                    <a:pt x="1617013" y="4406900"/>
                  </a:lnTo>
                  <a:lnTo>
                    <a:pt x="1611621" y="4356100"/>
                  </a:lnTo>
                  <a:lnTo>
                    <a:pt x="1606042" y="4318000"/>
                  </a:lnTo>
                  <a:lnTo>
                    <a:pt x="1600275" y="4267200"/>
                  </a:lnTo>
                  <a:lnTo>
                    <a:pt x="1594320" y="4216400"/>
                  </a:lnTo>
                  <a:lnTo>
                    <a:pt x="1588178" y="4165600"/>
                  </a:lnTo>
                  <a:lnTo>
                    <a:pt x="1581849" y="4114800"/>
                  </a:lnTo>
                  <a:lnTo>
                    <a:pt x="1575333" y="4064000"/>
                  </a:lnTo>
                  <a:lnTo>
                    <a:pt x="1568631" y="4013200"/>
                  </a:lnTo>
                  <a:lnTo>
                    <a:pt x="1561193" y="3962400"/>
                  </a:lnTo>
                  <a:lnTo>
                    <a:pt x="1553540" y="3911600"/>
                  </a:lnTo>
                  <a:lnTo>
                    <a:pt x="1545673" y="3848100"/>
                  </a:lnTo>
                  <a:lnTo>
                    <a:pt x="1537592" y="3797300"/>
                  </a:lnTo>
                  <a:lnTo>
                    <a:pt x="1529297" y="3746500"/>
                  </a:lnTo>
                  <a:lnTo>
                    <a:pt x="1520789" y="3695700"/>
                  </a:lnTo>
                  <a:lnTo>
                    <a:pt x="1512068" y="3644900"/>
                  </a:lnTo>
                  <a:lnTo>
                    <a:pt x="1503135" y="3594100"/>
                  </a:lnTo>
                  <a:lnTo>
                    <a:pt x="1493989" y="3543300"/>
                  </a:lnTo>
                  <a:lnTo>
                    <a:pt x="1484632" y="3492500"/>
                  </a:lnTo>
                  <a:lnTo>
                    <a:pt x="1475063" y="3441700"/>
                  </a:lnTo>
                  <a:lnTo>
                    <a:pt x="1465282" y="3390900"/>
                  </a:lnTo>
                  <a:lnTo>
                    <a:pt x="1455291" y="3340100"/>
                  </a:lnTo>
                  <a:lnTo>
                    <a:pt x="1445089" y="3289300"/>
                  </a:lnTo>
                  <a:lnTo>
                    <a:pt x="1434677" y="3238500"/>
                  </a:lnTo>
                  <a:lnTo>
                    <a:pt x="1424054" y="3187700"/>
                  </a:lnTo>
                  <a:lnTo>
                    <a:pt x="1413223" y="3136900"/>
                  </a:lnTo>
                  <a:lnTo>
                    <a:pt x="1402181" y="3086100"/>
                  </a:lnTo>
                  <a:lnTo>
                    <a:pt x="1390931" y="3035300"/>
                  </a:lnTo>
                  <a:lnTo>
                    <a:pt x="1379473" y="2984500"/>
                  </a:lnTo>
                  <a:lnTo>
                    <a:pt x="1367806" y="2933700"/>
                  </a:lnTo>
                  <a:lnTo>
                    <a:pt x="1355931" y="2882900"/>
                  </a:lnTo>
                  <a:lnTo>
                    <a:pt x="1343848" y="2832100"/>
                  </a:lnTo>
                  <a:lnTo>
                    <a:pt x="1331559" y="2781300"/>
                  </a:lnTo>
                  <a:lnTo>
                    <a:pt x="1319062" y="2743200"/>
                  </a:lnTo>
                  <a:lnTo>
                    <a:pt x="1306358" y="2692400"/>
                  </a:lnTo>
                  <a:lnTo>
                    <a:pt x="1293449" y="2641600"/>
                  </a:lnTo>
                  <a:lnTo>
                    <a:pt x="1280333" y="2590800"/>
                  </a:lnTo>
                  <a:lnTo>
                    <a:pt x="1267012" y="2540000"/>
                  </a:lnTo>
                  <a:lnTo>
                    <a:pt x="1253485" y="2501900"/>
                  </a:lnTo>
                  <a:lnTo>
                    <a:pt x="1239754" y="2451100"/>
                  </a:lnTo>
                  <a:lnTo>
                    <a:pt x="1225817" y="2400300"/>
                  </a:lnTo>
                  <a:lnTo>
                    <a:pt x="1211677" y="2362200"/>
                  </a:lnTo>
                  <a:lnTo>
                    <a:pt x="1197332" y="2311400"/>
                  </a:lnTo>
                  <a:lnTo>
                    <a:pt x="1182784" y="2260600"/>
                  </a:lnTo>
                  <a:lnTo>
                    <a:pt x="1168032" y="2222500"/>
                  </a:lnTo>
                  <a:lnTo>
                    <a:pt x="1153078" y="2171700"/>
                  </a:lnTo>
                  <a:lnTo>
                    <a:pt x="1137921" y="2120900"/>
                  </a:lnTo>
                  <a:lnTo>
                    <a:pt x="1122561" y="2082800"/>
                  </a:lnTo>
                  <a:lnTo>
                    <a:pt x="1107000" y="2032000"/>
                  </a:lnTo>
                  <a:lnTo>
                    <a:pt x="1091237" y="1993900"/>
                  </a:lnTo>
                  <a:lnTo>
                    <a:pt x="1075272" y="1943100"/>
                  </a:lnTo>
                  <a:lnTo>
                    <a:pt x="1059107" y="1905000"/>
                  </a:lnTo>
                  <a:lnTo>
                    <a:pt x="1040605" y="1854200"/>
                  </a:lnTo>
                  <a:lnTo>
                    <a:pt x="1021838" y="1803400"/>
                  </a:lnTo>
                  <a:lnTo>
                    <a:pt x="1002808" y="1752600"/>
                  </a:lnTo>
                  <a:lnTo>
                    <a:pt x="983513" y="1701800"/>
                  </a:lnTo>
                  <a:lnTo>
                    <a:pt x="963956" y="1651000"/>
                  </a:lnTo>
                  <a:lnTo>
                    <a:pt x="944136" y="1600200"/>
                  </a:lnTo>
                  <a:lnTo>
                    <a:pt x="924055" y="1549400"/>
                  </a:lnTo>
                  <a:lnTo>
                    <a:pt x="903713" y="1511300"/>
                  </a:lnTo>
                  <a:lnTo>
                    <a:pt x="883111" y="1460500"/>
                  </a:lnTo>
                  <a:lnTo>
                    <a:pt x="862250" y="1409700"/>
                  </a:lnTo>
                  <a:lnTo>
                    <a:pt x="841129" y="1358900"/>
                  </a:lnTo>
                  <a:lnTo>
                    <a:pt x="819751" y="1320800"/>
                  </a:lnTo>
                  <a:lnTo>
                    <a:pt x="798115" y="1270000"/>
                  </a:lnTo>
                  <a:lnTo>
                    <a:pt x="776222" y="1219200"/>
                  </a:lnTo>
                  <a:lnTo>
                    <a:pt x="754074" y="1181100"/>
                  </a:lnTo>
                  <a:lnTo>
                    <a:pt x="731669" y="1130300"/>
                  </a:lnTo>
                  <a:lnTo>
                    <a:pt x="709011" y="1079500"/>
                  </a:lnTo>
                  <a:lnTo>
                    <a:pt x="686098" y="1041400"/>
                  </a:lnTo>
                  <a:lnTo>
                    <a:pt x="662931" y="990600"/>
                  </a:lnTo>
                  <a:lnTo>
                    <a:pt x="639513" y="952500"/>
                  </a:lnTo>
                  <a:lnTo>
                    <a:pt x="615842" y="901700"/>
                  </a:lnTo>
                  <a:lnTo>
                    <a:pt x="591920" y="863600"/>
                  </a:lnTo>
                  <a:lnTo>
                    <a:pt x="567747" y="812800"/>
                  </a:lnTo>
                  <a:lnTo>
                    <a:pt x="543324" y="774700"/>
                  </a:lnTo>
                  <a:lnTo>
                    <a:pt x="518652" y="736600"/>
                  </a:lnTo>
                  <a:lnTo>
                    <a:pt x="493732" y="685800"/>
                  </a:lnTo>
                  <a:lnTo>
                    <a:pt x="468563" y="647700"/>
                  </a:lnTo>
                  <a:lnTo>
                    <a:pt x="443148" y="609600"/>
                  </a:lnTo>
                  <a:lnTo>
                    <a:pt x="417485" y="558800"/>
                  </a:lnTo>
                  <a:lnTo>
                    <a:pt x="391577" y="520700"/>
                  </a:lnTo>
                  <a:lnTo>
                    <a:pt x="365424" y="482600"/>
                  </a:lnTo>
                  <a:lnTo>
                    <a:pt x="339027" y="444500"/>
                  </a:lnTo>
                  <a:lnTo>
                    <a:pt x="312385" y="393700"/>
                  </a:lnTo>
                  <a:lnTo>
                    <a:pt x="285501" y="355600"/>
                  </a:lnTo>
                  <a:lnTo>
                    <a:pt x="258374" y="317500"/>
                  </a:lnTo>
                  <a:lnTo>
                    <a:pt x="231005" y="279400"/>
                  </a:lnTo>
                  <a:lnTo>
                    <a:pt x="203395" y="241300"/>
                  </a:lnTo>
                  <a:lnTo>
                    <a:pt x="175545" y="203200"/>
                  </a:lnTo>
                  <a:lnTo>
                    <a:pt x="147455" y="165100"/>
                  </a:lnTo>
                  <a:lnTo>
                    <a:pt x="119126" y="127000"/>
                  </a:lnTo>
                  <a:lnTo>
                    <a:pt x="90559" y="88900"/>
                  </a:lnTo>
                  <a:lnTo>
                    <a:pt x="61754" y="50800"/>
                  </a:lnTo>
                  <a:lnTo>
                    <a:pt x="32712" y="12700"/>
                  </a:lnTo>
                  <a:lnTo>
                    <a:pt x="20401" y="0"/>
                  </a:lnTo>
                  <a:close/>
                </a:path>
                <a:path w="2486659" h="6845300">
                  <a:moveTo>
                    <a:pt x="2486587" y="5207000"/>
                  </a:moveTo>
                  <a:lnTo>
                    <a:pt x="2463651" y="5270500"/>
                  </a:lnTo>
                  <a:lnTo>
                    <a:pt x="2439714" y="5334000"/>
                  </a:lnTo>
                  <a:lnTo>
                    <a:pt x="2415203" y="5397500"/>
                  </a:lnTo>
                  <a:lnTo>
                    <a:pt x="2390113" y="5461000"/>
                  </a:lnTo>
                  <a:lnTo>
                    <a:pt x="2364436" y="5524500"/>
                  </a:lnTo>
                  <a:lnTo>
                    <a:pt x="2338168" y="5588000"/>
                  </a:lnTo>
                  <a:lnTo>
                    <a:pt x="2311301" y="5651500"/>
                  </a:lnTo>
                  <a:lnTo>
                    <a:pt x="2283830" y="5702300"/>
                  </a:lnTo>
                  <a:lnTo>
                    <a:pt x="2255749" y="5765800"/>
                  </a:lnTo>
                  <a:lnTo>
                    <a:pt x="2233789" y="5816600"/>
                  </a:lnTo>
                  <a:lnTo>
                    <a:pt x="2211531" y="5867400"/>
                  </a:lnTo>
                  <a:lnTo>
                    <a:pt x="2188975" y="5918200"/>
                  </a:lnTo>
                  <a:lnTo>
                    <a:pt x="2166124" y="5956300"/>
                  </a:lnTo>
                  <a:lnTo>
                    <a:pt x="2142980" y="6007100"/>
                  </a:lnTo>
                  <a:lnTo>
                    <a:pt x="2119545" y="6057900"/>
                  </a:lnTo>
                  <a:lnTo>
                    <a:pt x="2095821" y="6096000"/>
                  </a:lnTo>
                  <a:lnTo>
                    <a:pt x="2071811" y="6146800"/>
                  </a:lnTo>
                  <a:lnTo>
                    <a:pt x="2047515" y="6197600"/>
                  </a:lnTo>
                  <a:lnTo>
                    <a:pt x="2022937" y="6235700"/>
                  </a:lnTo>
                  <a:lnTo>
                    <a:pt x="1998078" y="6286500"/>
                  </a:lnTo>
                  <a:lnTo>
                    <a:pt x="1972941" y="6324600"/>
                  </a:lnTo>
                  <a:lnTo>
                    <a:pt x="1947526" y="6375400"/>
                  </a:lnTo>
                  <a:lnTo>
                    <a:pt x="1921837" y="6413500"/>
                  </a:lnTo>
                  <a:lnTo>
                    <a:pt x="1895876" y="6464300"/>
                  </a:lnTo>
                  <a:lnTo>
                    <a:pt x="1869644" y="6502400"/>
                  </a:lnTo>
                  <a:lnTo>
                    <a:pt x="1843143" y="6553200"/>
                  </a:lnTo>
                  <a:lnTo>
                    <a:pt x="1816376" y="6591300"/>
                  </a:lnTo>
                  <a:lnTo>
                    <a:pt x="1789345" y="6629400"/>
                  </a:lnTo>
                  <a:lnTo>
                    <a:pt x="1762051" y="6680200"/>
                  </a:lnTo>
                  <a:lnTo>
                    <a:pt x="1734497" y="6718300"/>
                  </a:lnTo>
                  <a:lnTo>
                    <a:pt x="1706684" y="6756400"/>
                  </a:lnTo>
                  <a:lnTo>
                    <a:pt x="1678615" y="6807200"/>
                  </a:lnTo>
                  <a:lnTo>
                    <a:pt x="1650293" y="6845300"/>
                  </a:lnTo>
                  <a:lnTo>
                    <a:pt x="1680643" y="6845300"/>
                  </a:lnTo>
                  <a:lnTo>
                    <a:pt x="1709520" y="6794500"/>
                  </a:lnTo>
                  <a:lnTo>
                    <a:pt x="1738019" y="6756400"/>
                  </a:lnTo>
                  <a:lnTo>
                    <a:pt x="1766143" y="6718300"/>
                  </a:lnTo>
                  <a:lnTo>
                    <a:pt x="1793894" y="6667500"/>
                  </a:lnTo>
                  <a:lnTo>
                    <a:pt x="1821274" y="6629400"/>
                  </a:lnTo>
                  <a:lnTo>
                    <a:pt x="1848286" y="6578600"/>
                  </a:lnTo>
                  <a:lnTo>
                    <a:pt x="1874932" y="6540500"/>
                  </a:lnTo>
                  <a:lnTo>
                    <a:pt x="1901214" y="6502400"/>
                  </a:lnTo>
                  <a:lnTo>
                    <a:pt x="1927133" y="6451600"/>
                  </a:lnTo>
                  <a:lnTo>
                    <a:pt x="1952693" y="6413500"/>
                  </a:lnTo>
                  <a:lnTo>
                    <a:pt x="1977896" y="6362700"/>
                  </a:lnTo>
                  <a:lnTo>
                    <a:pt x="2002743" y="6324600"/>
                  </a:lnTo>
                  <a:lnTo>
                    <a:pt x="2027237" y="6273800"/>
                  </a:lnTo>
                  <a:lnTo>
                    <a:pt x="2051380" y="6235700"/>
                  </a:lnTo>
                  <a:lnTo>
                    <a:pt x="2075174" y="6184900"/>
                  </a:lnTo>
                  <a:lnTo>
                    <a:pt x="2098621" y="6146800"/>
                  </a:lnTo>
                  <a:lnTo>
                    <a:pt x="2121724" y="6096000"/>
                  </a:lnTo>
                  <a:lnTo>
                    <a:pt x="2144485" y="6057900"/>
                  </a:lnTo>
                  <a:lnTo>
                    <a:pt x="2166905" y="6007100"/>
                  </a:lnTo>
                  <a:lnTo>
                    <a:pt x="2188988" y="5969000"/>
                  </a:lnTo>
                  <a:lnTo>
                    <a:pt x="2210735" y="5918200"/>
                  </a:lnTo>
                  <a:lnTo>
                    <a:pt x="2232149" y="5880100"/>
                  </a:lnTo>
                  <a:lnTo>
                    <a:pt x="2253231" y="5829300"/>
                  </a:lnTo>
                  <a:lnTo>
                    <a:pt x="2273984" y="5778500"/>
                  </a:lnTo>
                  <a:lnTo>
                    <a:pt x="2302501" y="5715000"/>
                  </a:lnTo>
                  <a:lnTo>
                    <a:pt x="2330390" y="5651500"/>
                  </a:lnTo>
                  <a:lnTo>
                    <a:pt x="2357658" y="5588000"/>
                  </a:lnTo>
                  <a:lnTo>
                    <a:pt x="2384312" y="5524500"/>
                  </a:lnTo>
                  <a:lnTo>
                    <a:pt x="2410357" y="5461000"/>
                  </a:lnTo>
                  <a:lnTo>
                    <a:pt x="2435800" y="5397500"/>
                  </a:lnTo>
                  <a:lnTo>
                    <a:pt x="2460648" y="5334000"/>
                  </a:lnTo>
                  <a:lnTo>
                    <a:pt x="2484906" y="5270500"/>
                  </a:lnTo>
                  <a:lnTo>
                    <a:pt x="2486587" y="5270500"/>
                  </a:lnTo>
                  <a:lnTo>
                    <a:pt x="2486587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10256346" y="4561729"/>
              <a:ext cx="1038225" cy="2296795"/>
            </a:xfrm>
            <a:custGeom>
              <a:avLst/>
              <a:gdLst/>
              <a:ahLst/>
              <a:cxnLst/>
              <a:rect l="l" t="t" r="r" b="b"/>
              <a:pathLst>
                <a:path w="1038225" h="2296795">
                  <a:moveTo>
                    <a:pt x="972083" y="0"/>
                  </a:moveTo>
                  <a:lnTo>
                    <a:pt x="957391" y="51641"/>
                  </a:lnTo>
                  <a:lnTo>
                    <a:pt x="944766" y="94722"/>
                  </a:lnTo>
                  <a:lnTo>
                    <a:pt x="929843" y="144412"/>
                  </a:lnTo>
                  <a:lnTo>
                    <a:pt x="912590" y="200444"/>
                  </a:lnTo>
                  <a:lnTo>
                    <a:pt x="892979" y="262548"/>
                  </a:lnTo>
                  <a:lnTo>
                    <a:pt x="870979" y="330456"/>
                  </a:lnTo>
                  <a:lnTo>
                    <a:pt x="846560" y="403899"/>
                  </a:lnTo>
                  <a:lnTo>
                    <a:pt x="833435" y="442613"/>
                  </a:lnTo>
                  <a:lnTo>
                    <a:pt x="819693" y="482610"/>
                  </a:lnTo>
                  <a:lnTo>
                    <a:pt x="805332" y="523857"/>
                  </a:lnTo>
                  <a:lnTo>
                    <a:pt x="790348" y="566319"/>
                  </a:lnTo>
                  <a:lnTo>
                    <a:pt x="774737" y="609964"/>
                  </a:lnTo>
                  <a:lnTo>
                    <a:pt x="758495" y="654758"/>
                  </a:lnTo>
                  <a:lnTo>
                    <a:pt x="741619" y="700668"/>
                  </a:lnTo>
                  <a:lnTo>
                    <a:pt x="724104" y="747659"/>
                  </a:lnTo>
                  <a:lnTo>
                    <a:pt x="705948" y="795699"/>
                  </a:lnTo>
                  <a:lnTo>
                    <a:pt x="687145" y="844753"/>
                  </a:lnTo>
                  <a:lnTo>
                    <a:pt x="667694" y="894788"/>
                  </a:lnTo>
                  <a:lnTo>
                    <a:pt x="647589" y="945771"/>
                  </a:lnTo>
                  <a:lnTo>
                    <a:pt x="626827" y="997668"/>
                  </a:lnTo>
                  <a:lnTo>
                    <a:pt x="605405" y="1050446"/>
                  </a:lnTo>
                  <a:lnTo>
                    <a:pt x="583318" y="1104070"/>
                  </a:lnTo>
                  <a:lnTo>
                    <a:pt x="560564" y="1158507"/>
                  </a:lnTo>
                  <a:lnTo>
                    <a:pt x="537137" y="1213725"/>
                  </a:lnTo>
                  <a:lnTo>
                    <a:pt x="513035" y="1269688"/>
                  </a:lnTo>
                  <a:lnTo>
                    <a:pt x="488254" y="1326364"/>
                  </a:lnTo>
                  <a:lnTo>
                    <a:pt x="462790" y="1383720"/>
                  </a:lnTo>
                  <a:lnTo>
                    <a:pt x="436639" y="1441720"/>
                  </a:lnTo>
                  <a:lnTo>
                    <a:pt x="409797" y="1500333"/>
                  </a:lnTo>
                  <a:lnTo>
                    <a:pt x="382262" y="1559524"/>
                  </a:lnTo>
                  <a:lnTo>
                    <a:pt x="354028" y="1619260"/>
                  </a:lnTo>
                  <a:lnTo>
                    <a:pt x="325093" y="1679507"/>
                  </a:lnTo>
                  <a:lnTo>
                    <a:pt x="295453" y="1740232"/>
                  </a:lnTo>
                  <a:lnTo>
                    <a:pt x="265103" y="1801401"/>
                  </a:lnTo>
                  <a:lnTo>
                    <a:pt x="234040" y="1862980"/>
                  </a:lnTo>
                  <a:lnTo>
                    <a:pt x="202261" y="1924936"/>
                  </a:lnTo>
                  <a:lnTo>
                    <a:pt x="169762" y="1987236"/>
                  </a:lnTo>
                  <a:lnTo>
                    <a:pt x="136539" y="2049846"/>
                  </a:lnTo>
                  <a:lnTo>
                    <a:pt x="102587" y="2112732"/>
                  </a:lnTo>
                  <a:lnTo>
                    <a:pt x="67905" y="2175861"/>
                  </a:lnTo>
                  <a:lnTo>
                    <a:pt x="32487" y="2239199"/>
                  </a:lnTo>
                  <a:lnTo>
                    <a:pt x="0" y="2296266"/>
                  </a:lnTo>
                  <a:lnTo>
                    <a:pt x="997702" y="2296266"/>
                  </a:lnTo>
                  <a:lnTo>
                    <a:pt x="1003088" y="2234701"/>
                  </a:lnTo>
                  <a:lnTo>
                    <a:pt x="1007406" y="2180315"/>
                  </a:lnTo>
                  <a:lnTo>
                    <a:pt x="1011929" y="2117872"/>
                  </a:lnTo>
                  <a:lnTo>
                    <a:pt x="1016511" y="2047638"/>
                  </a:lnTo>
                  <a:lnTo>
                    <a:pt x="1021009" y="1969876"/>
                  </a:lnTo>
                  <a:lnTo>
                    <a:pt x="1023180" y="1928256"/>
                  </a:lnTo>
                  <a:lnTo>
                    <a:pt x="1025276" y="1884854"/>
                  </a:lnTo>
                  <a:lnTo>
                    <a:pt x="1027279" y="1839703"/>
                  </a:lnTo>
                  <a:lnTo>
                    <a:pt x="1029170" y="1792835"/>
                  </a:lnTo>
                  <a:lnTo>
                    <a:pt x="1030932" y="1744285"/>
                  </a:lnTo>
                  <a:lnTo>
                    <a:pt x="1032546" y="1694086"/>
                  </a:lnTo>
                  <a:lnTo>
                    <a:pt x="1033994" y="1642270"/>
                  </a:lnTo>
                  <a:lnTo>
                    <a:pt x="1035258" y="1588871"/>
                  </a:lnTo>
                  <a:lnTo>
                    <a:pt x="1036321" y="1533922"/>
                  </a:lnTo>
                  <a:lnTo>
                    <a:pt x="1037163" y="1477457"/>
                  </a:lnTo>
                  <a:lnTo>
                    <a:pt x="1037768" y="1419507"/>
                  </a:lnTo>
                  <a:lnTo>
                    <a:pt x="1038117" y="1360107"/>
                  </a:lnTo>
                  <a:lnTo>
                    <a:pt x="1038088" y="1269688"/>
                  </a:lnTo>
                  <a:lnTo>
                    <a:pt x="1037446" y="1173535"/>
                  </a:lnTo>
                  <a:lnTo>
                    <a:pt x="1036590" y="1108664"/>
                  </a:lnTo>
                  <a:lnTo>
                    <a:pt x="1035388" y="1042508"/>
                  </a:lnTo>
                  <a:lnTo>
                    <a:pt x="1033822" y="975101"/>
                  </a:lnTo>
                  <a:lnTo>
                    <a:pt x="1031873" y="906476"/>
                  </a:lnTo>
                  <a:lnTo>
                    <a:pt x="1029523" y="836665"/>
                  </a:lnTo>
                  <a:lnTo>
                    <a:pt x="1026755" y="765702"/>
                  </a:lnTo>
                  <a:lnTo>
                    <a:pt x="1023551" y="693620"/>
                  </a:lnTo>
                  <a:lnTo>
                    <a:pt x="1019891" y="620452"/>
                  </a:lnTo>
                  <a:lnTo>
                    <a:pt x="1015759" y="546231"/>
                  </a:lnTo>
                  <a:lnTo>
                    <a:pt x="1011137" y="470991"/>
                  </a:lnTo>
                  <a:lnTo>
                    <a:pt x="1006005" y="394765"/>
                  </a:lnTo>
                  <a:lnTo>
                    <a:pt x="1000347" y="317586"/>
                  </a:lnTo>
                  <a:lnTo>
                    <a:pt x="994143" y="239486"/>
                  </a:lnTo>
                  <a:lnTo>
                    <a:pt x="987377" y="160500"/>
                  </a:lnTo>
                  <a:lnTo>
                    <a:pt x="980029" y="80660"/>
                  </a:lnTo>
                  <a:lnTo>
                    <a:pt x="9720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0243104" y="4503006"/>
              <a:ext cx="1057275" cy="2355215"/>
            </a:xfrm>
            <a:custGeom>
              <a:avLst/>
              <a:gdLst/>
              <a:ahLst/>
              <a:cxnLst/>
              <a:rect l="l" t="t" r="r" b="b"/>
              <a:pathLst>
                <a:path w="1057275" h="2355215">
                  <a:moveTo>
                    <a:pt x="989712" y="0"/>
                  </a:moveTo>
                  <a:lnTo>
                    <a:pt x="977489" y="45493"/>
                  </a:lnTo>
                  <a:lnTo>
                    <a:pt x="962222" y="99453"/>
                  </a:lnTo>
                  <a:lnTo>
                    <a:pt x="948567" y="146140"/>
                  </a:lnTo>
                  <a:lnTo>
                    <a:pt x="932086" y="200969"/>
                  </a:lnTo>
                  <a:lnTo>
                    <a:pt x="912743" y="263569"/>
                  </a:lnTo>
                  <a:lnTo>
                    <a:pt x="890481" y="333627"/>
                  </a:lnTo>
                  <a:lnTo>
                    <a:pt x="878277" y="371235"/>
                  </a:lnTo>
                  <a:lnTo>
                    <a:pt x="865317" y="410610"/>
                  </a:lnTo>
                  <a:lnTo>
                    <a:pt x="851612" y="451651"/>
                  </a:lnTo>
                  <a:lnTo>
                    <a:pt x="837159" y="494313"/>
                  </a:lnTo>
                  <a:lnTo>
                    <a:pt x="821952" y="538548"/>
                  </a:lnTo>
                  <a:lnTo>
                    <a:pt x="805987" y="584311"/>
                  </a:lnTo>
                  <a:lnTo>
                    <a:pt x="789260" y="631556"/>
                  </a:lnTo>
                  <a:lnTo>
                    <a:pt x="771765" y="680236"/>
                  </a:lnTo>
                  <a:lnTo>
                    <a:pt x="753498" y="730306"/>
                  </a:lnTo>
                  <a:lnTo>
                    <a:pt x="734454" y="781720"/>
                  </a:lnTo>
                  <a:lnTo>
                    <a:pt x="714629" y="834430"/>
                  </a:lnTo>
                  <a:lnTo>
                    <a:pt x="694018" y="888392"/>
                  </a:lnTo>
                  <a:lnTo>
                    <a:pt x="672615" y="943559"/>
                  </a:lnTo>
                  <a:lnTo>
                    <a:pt x="650417" y="999884"/>
                  </a:lnTo>
                  <a:lnTo>
                    <a:pt x="627419" y="1057322"/>
                  </a:lnTo>
                  <a:lnTo>
                    <a:pt x="603616" y="1115827"/>
                  </a:lnTo>
                  <a:lnTo>
                    <a:pt x="579003" y="1175352"/>
                  </a:lnTo>
                  <a:lnTo>
                    <a:pt x="553575" y="1235852"/>
                  </a:lnTo>
                  <a:lnTo>
                    <a:pt x="527329" y="1297280"/>
                  </a:lnTo>
                  <a:lnTo>
                    <a:pt x="500258" y="1359590"/>
                  </a:lnTo>
                  <a:lnTo>
                    <a:pt x="472360" y="1422735"/>
                  </a:lnTo>
                  <a:lnTo>
                    <a:pt x="443628" y="1486671"/>
                  </a:lnTo>
                  <a:lnTo>
                    <a:pt x="414058" y="1551350"/>
                  </a:lnTo>
                  <a:lnTo>
                    <a:pt x="383645" y="1616727"/>
                  </a:lnTo>
                  <a:lnTo>
                    <a:pt x="352386" y="1682756"/>
                  </a:lnTo>
                  <a:lnTo>
                    <a:pt x="320274" y="1749389"/>
                  </a:lnTo>
                  <a:lnTo>
                    <a:pt x="287306" y="1816582"/>
                  </a:lnTo>
                  <a:lnTo>
                    <a:pt x="253476" y="1884288"/>
                  </a:lnTo>
                  <a:lnTo>
                    <a:pt x="218780" y="1952461"/>
                  </a:lnTo>
                  <a:lnTo>
                    <a:pt x="183214" y="2021055"/>
                  </a:lnTo>
                  <a:lnTo>
                    <a:pt x="146772" y="2090023"/>
                  </a:lnTo>
                  <a:lnTo>
                    <a:pt x="109450" y="2159320"/>
                  </a:lnTo>
                  <a:lnTo>
                    <a:pt x="71243" y="2228900"/>
                  </a:lnTo>
                  <a:lnTo>
                    <a:pt x="32146" y="2298715"/>
                  </a:lnTo>
                  <a:lnTo>
                    <a:pt x="0" y="2354990"/>
                  </a:lnTo>
                  <a:lnTo>
                    <a:pt x="26178" y="2354990"/>
                  </a:lnTo>
                  <a:lnTo>
                    <a:pt x="53349" y="2307197"/>
                  </a:lnTo>
                  <a:lnTo>
                    <a:pt x="82481" y="2255185"/>
                  </a:lnTo>
                  <a:lnTo>
                    <a:pt x="110956" y="2203592"/>
                  </a:lnTo>
                  <a:lnTo>
                    <a:pt x="138998" y="2152040"/>
                  </a:lnTo>
                  <a:lnTo>
                    <a:pt x="166535" y="2100686"/>
                  </a:lnTo>
                  <a:lnTo>
                    <a:pt x="193566" y="2049555"/>
                  </a:lnTo>
                  <a:lnTo>
                    <a:pt x="220092" y="1998671"/>
                  </a:lnTo>
                  <a:lnTo>
                    <a:pt x="246115" y="1948059"/>
                  </a:lnTo>
                  <a:lnTo>
                    <a:pt x="271635" y="1897742"/>
                  </a:lnTo>
                  <a:lnTo>
                    <a:pt x="296653" y="1847744"/>
                  </a:lnTo>
                  <a:lnTo>
                    <a:pt x="321170" y="1798090"/>
                  </a:lnTo>
                  <a:lnTo>
                    <a:pt x="345186" y="1748804"/>
                  </a:lnTo>
                  <a:lnTo>
                    <a:pt x="368703" y="1699911"/>
                  </a:lnTo>
                  <a:lnTo>
                    <a:pt x="391721" y="1651433"/>
                  </a:lnTo>
                  <a:lnTo>
                    <a:pt x="414241" y="1603395"/>
                  </a:lnTo>
                  <a:lnTo>
                    <a:pt x="436264" y="1555823"/>
                  </a:lnTo>
                  <a:lnTo>
                    <a:pt x="457790" y="1508738"/>
                  </a:lnTo>
                  <a:lnTo>
                    <a:pt x="478821" y="1462167"/>
                  </a:lnTo>
                  <a:lnTo>
                    <a:pt x="499358" y="1416132"/>
                  </a:lnTo>
                  <a:lnTo>
                    <a:pt x="519400" y="1370659"/>
                  </a:lnTo>
                  <a:lnTo>
                    <a:pt x="538949" y="1325771"/>
                  </a:lnTo>
                  <a:lnTo>
                    <a:pt x="558006" y="1281492"/>
                  </a:lnTo>
                  <a:lnTo>
                    <a:pt x="576572" y="1237847"/>
                  </a:lnTo>
                  <a:lnTo>
                    <a:pt x="594647" y="1194860"/>
                  </a:lnTo>
                  <a:lnTo>
                    <a:pt x="612232" y="1152554"/>
                  </a:lnTo>
                  <a:lnTo>
                    <a:pt x="629328" y="1110955"/>
                  </a:lnTo>
                  <a:lnTo>
                    <a:pt x="645936" y="1070086"/>
                  </a:lnTo>
                  <a:lnTo>
                    <a:pt x="662057" y="1029971"/>
                  </a:lnTo>
                  <a:lnTo>
                    <a:pt x="677691" y="990634"/>
                  </a:lnTo>
                  <a:lnTo>
                    <a:pt x="692840" y="952101"/>
                  </a:lnTo>
                  <a:lnTo>
                    <a:pt x="707503" y="914394"/>
                  </a:lnTo>
                  <a:lnTo>
                    <a:pt x="721683" y="877538"/>
                  </a:lnTo>
                  <a:lnTo>
                    <a:pt x="735379" y="841557"/>
                  </a:lnTo>
                  <a:lnTo>
                    <a:pt x="761324" y="772318"/>
                  </a:lnTo>
                  <a:lnTo>
                    <a:pt x="784431" y="709568"/>
                  </a:lnTo>
                  <a:lnTo>
                    <a:pt x="806345" y="648906"/>
                  </a:lnTo>
                  <a:lnTo>
                    <a:pt x="827079" y="590417"/>
                  </a:lnTo>
                  <a:lnTo>
                    <a:pt x="846641" y="534189"/>
                  </a:lnTo>
                  <a:lnTo>
                    <a:pt x="865044" y="480309"/>
                  </a:lnTo>
                  <a:lnTo>
                    <a:pt x="882297" y="428864"/>
                  </a:lnTo>
                  <a:lnTo>
                    <a:pt x="898411" y="379941"/>
                  </a:lnTo>
                  <a:lnTo>
                    <a:pt x="913414" y="333573"/>
                  </a:lnTo>
                  <a:lnTo>
                    <a:pt x="927264" y="290009"/>
                  </a:lnTo>
                  <a:lnTo>
                    <a:pt x="940023" y="249174"/>
                  </a:lnTo>
                  <a:lnTo>
                    <a:pt x="951686" y="211209"/>
                  </a:lnTo>
                  <a:lnTo>
                    <a:pt x="971763" y="144237"/>
                  </a:lnTo>
                  <a:lnTo>
                    <a:pt x="980198" y="115405"/>
                  </a:lnTo>
                  <a:lnTo>
                    <a:pt x="997596" y="115405"/>
                  </a:lnTo>
                  <a:lnTo>
                    <a:pt x="989712" y="0"/>
                  </a:lnTo>
                  <a:close/>
                </a:path>
                <a:path w="1057275" h="2355215">
                  <a:moveTo>
                    <a:pt x="997596" y="115405"/>
                  </a:moveTo>
                  <a:lnTo>
                    <a:pt x="980198" y="115405"/>
                  </a:lnTo>
                  <a:lnTo>
                    <a:pt x="986108" y="177963"/>
                  </a:lnTo>
                  <a:lnTo>
                    <a:pt x="991657" y="239966"/>
                  </a:lnTo>
                  <a:lnTo>
                    <a:pt x="996852" y="301391"/>
                  </a:lnTo>
                  <a:lnTo>
                    <a:pt x="1001704" y="362220"/>
                  </a:lnTo>
                  <a:lnTo>
                    <a:pt x="1006222" y="422431"/>
                  </a:lnTo>
                  <a:lnTo>
                    <a:pt x="1010414" y="482004"/>
                  </a:lnTo>
                  <a:lnTo>
                    <a:pt x="1014292" y="540918"/>
                  </a:lnTo>
                  <a:lnTo>
                    <a:pt x="1017863" y="599153"/>
                  </a:lnTo>
                  <a:lnTo>
                    <a:pt x="1021137" y="656688"/>
                  </a:lnTo>
                  <a:lnTo>
                    <a:pt x="1024124" y="713503"/>
                  </a:lnTo>
                  <a:lnTo>
                    <a:pt x="1026954" y="772318"/>
                  </a:lnTo>
                  <a:lnTo>
                    <a:pt x="1029274" y="824888"/>
                  </a:lnTo>
                  <a:lnTo>
                    <a:pt x="1031454" y="879419"/>
                  </a:lnTo>
                  <a:lnTo>
                    <a:pt x="1033385" y="933146"/>
                  </a:lnTo>
                  <a:lnTo>
                    <a:pt x="1035076" y="986051"/>
                  </a:lnTo>
                  <a:lnTo>
                    <a:pt x="1036535" y="1038111"/>
                  </a:lnTo>
                  <a:lnTo>
                    <a:pt x="1037772" y="1089308"/>
                  </a:lnTo>
                  <a:lnTo>
                    <a:pt x="1038797" y="1139620"/>
                  </a:lnTo>
                  <a:lnTo>
                    <a:pt x="1039618" y="1189026"/>
                  </a:lnTo>
                  <a:lnTo>
                    <a:pt x="1040249" y="1237847"/>
                  </a:lnTo>
                  <a:lnTo>
                    <a:pt x="1040656" y="1281492"/>
                  </a:lnTo>
                  <a:lnTo>
                    <a:pt x="1040923" y="1325771"/>
                  </a:lnTo>
                  <a:lnTo>
                    <a:pt x="1041001" y="1422735"/>
                  </a:lnTo>
                  <a:lnTo>
                    <a:pt x="1040804" y="1465304"/>
                  </a:lnTo>
                  <a:lnTo>
                    <a:pt x="1040455" y="1508738"/>
                  </a:lnTo>
                  <a:lnTo>
                    <a:pt x="1039998" y="1549222"/>
                  </a:lnTo>
                  <a:lnTo>
                    <a:pt x="1039412" y="1589556"/>
                  </a:lnTo>
                  <a:lnTo>
                    <a:pt x="1038717" y="1628780"/>
                  </a:lnTo>
                  <a:lnTo>
                    <a:pt x="1037921" y="1666872"/>
                  </a:lnTo>
                  <a:lnTo>
                    <a:pt x="1035988" y="1742000"/>
                  </a:lnTo>
                  <a:lnTo>
                    <a:pt x="1033469" y="1819853"/>
                  </a:lnTo>
                  <a:lnTo>
                    <a:pt x="1030403" y="1897742"/>
                  </a:lnTo>
                  <a:lnTo>
                    <a:pt x="1027199" y="1967575"/>
                  </a:lnTo>
                  <a:lnTo>
                    <a:pt x="1023685" y="2034730"/>
                  </a:lnTo>
                  <a:lnTo>
                    <a:pt x="1020022" y="2097216"/>
                  </a:lnTo>
                  <a:lnTo>
                    <a:pt x="1016289" y="2154885"/>
                  </a:lnTo>
                  <a:lnTo>
                    <a:pt x="1012566" y="2207591"/>
                  </a:lnTo>
                  <a:lnTo>
                    <a:pt x="1008920" y="2255319"/>
                  </a:lnTo>
                  <a:lnTo>
                    <a:pt x="1005359" y="2298715"/>
                  </a:lnTo>
                  <a:lnTo>
                    <a:pt x="1000344" y="2354990"/>
                  </a:lnTo>
                  <a:lnTo>
                    <a:pt x="1020867" y="2354990"/>
                  </a:lnTo>
                  <a:lnTo>
                    <a:pt x="1030272" y="2253759"/>
                  </a:lnTo>
                  <a:lnTo>
                    <a:pt x="1056990" y="1742000"/>
                  </a:lnTo>
                  <a:lnTo>
                    <a:pt x="1055909" y="968959"/>
                  </a:lnTo>
                  <a:lnTo>
                    <a:pt x="997596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16</a:t>
            </a:fld>
            <a:endParaRPr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520065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0" dirty="0"/>
              <a:t>Vlerësimi </a:t>
            </a:r>
            <a:r>
              <a:rPr spc="-5" dirty="0"/>
              <a:t>dhe</a:t>
            </a:r>
            <a:r>
              <a:rPr spc="-10" dirty="0"/>
              <a:t> </a:t>
            </a:r>
            <a:r>
              <a:rPr spc="-5" dirty="0"/>
              <a:t>Menaxhimi</a:t>
            </a:r>
            <a:r>
              <a:rPr spc="5" dirty="0"/>
              <a:t> </a:t>
            </a:r>
            <a:r>
              <a:rPr spc="-5" dirty="0"/>
              <a:t>i</a:t>
            </a:r>
            <a:r>
              <a:rPr spc="-10" dirty="0"/>
              <a:t> Riskut</a:t>
            </a:r>
          </a:p>
        </p:txBody>
      </p:sp>
      <p:grpSp>
        <p:nvGrpSpPr>
          <p:cNvPr id="8" name="object 8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9" name="object 9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/>
          <p:nvPr/>
        </p:nvSpPr>
        <p:spPr>
          <a:xfrm>
            <a:off x="498144" y="1251966"/>
            <a:ext cx="8771255" cy="465899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285115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ntersig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kryen</a:t>
            </a:r>
            <a:r>
              <a:rPr sz="16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ënyrë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regullt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vjetore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rocesin</a:t>
            </a:r>
            <a:r>
              <a:rPr sz="16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vlerësimit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ut</a:t>
            </a:r>
            <a:r>
              <a:rPr sz="16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shoqërisë.</a:t>
            </a:r>
            <a:r>
              <a:rPr sz="16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Për</a:t>
            </a:r>
            <a:r>
              <a:rPr sz="16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këtë </a:t>
            </a:r>
            <a:r>
              <a:rPr sz="1600" spc="-4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qëllim,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është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krijuar</a:t>
            </a:r>
            <a:r>
              <a:rPr sz="1600" spc="4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truktura</a:t>
            </a:r>
            <a:r>
              <a:rPr sz="1600" spc="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brendshme</a:t>
            </a:r>
            <a:r>
              <a:rPr sz="1600" spc="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enaxhimit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ut</a:t>
            </a:r>
            <a:r>
              <a:rPr sz="1600" spc="3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hoqërisë,</a:t>
            </a:r>
            <a:r>
              <a:rPr sz="16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ërbërë</a:t>
            </a:r>
            <a:r>
              <a:rPr sz="1600" spc="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nga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Departamenti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enaxhimit</a:t>
            </a:r>
            <a:r>
              <a:rPr sz="16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ut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ku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ërfshihet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Komiteti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enaxhimit</a:t>
            </a:r>
            <a:r>
              <a:rPr sz="16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ut.</a:t>
            </a:r>
            <a:endParaRPr sz="1600">
              <a:latin typeface="Ebrima"/>
              <a:cs typeface="Ebrima"/>
            </a:endParaRPr>
          </a:p>
          <a:p>
            <a:pPr marL="12700" marR="5080">
              <a:lnSpc>
                <a:spcPct val="100000"/>
              </a:lnSpc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Për</a:t>
            </a:r>
            <a:r>
              <a:rPr sz="16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kontrollimin</a:t>
            </a:r>
            <a:r>
              <a:rPr sz="1600" spc="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dhe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vlerësimin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6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qeve</a:t>
            </a:r>
            <a:r>
              <a:rPr sz="16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hoqërisë,</a:t>
            </a:r>
            <a:r>
              <a:rPr sz="16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ntersig</a:t>
            </a:r>
            <a:r>
              <a:rPr sz="16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ërdor</a:t>
            </a:r>
            <a:r>
              <a:rPr sz="16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odelet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6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shoqërisë</a:t>
            </a:r>
            <a:r>
              <a:rPr sz="1600" spc="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mëmë, </a:t>
            </a:r>
            <a:r>
              <a:rPr sz="1600" spc="-4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Vienna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Insurance</a:t>
            </a:r>
            <a:r>
              <a:rPr sz="1600" spc="3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Group.</a:t>
            </a:r>
            <a:r>
              <a:rPr sz="1600" spc="5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Risqet</a:t>
            </a:r>
            <a:r>
              <a:rPr sz="16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kryesore</a:t>
            </a:r>
            <a:r>
              <a:rPr sz="1600" spc="6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shoqërisë,</a:t>
            </a:r>
            <a:r>
              <a:rPr sz="1600" spc="3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ërveçse</a:t>
            </a:r>
            <a:r>
              <a:rPr sz="1600" spc="3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janë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dentifikuara,</a:t>
            </a:r>
            <a:r>
              <a:rPr sz="1600" spc="3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kanë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po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ashtu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ërcaktuar</a:t>
            </a:r>
            <a:r>
              <a:rPr sz="1600" spc="4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frekuencën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dh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hkallën</a:t>
            </a:r>
            <a:r>
              <a:rPr sz="16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rëndësisë,</a:t>
            </a:r>
            <a:r>
              <a:rPr sz="16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asat</a:t>
            </a:r>
            <a:r>
              <a:rPr sz="16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dh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kontrollet</a:t>
            </a:r>
            <a:r>
              <a:rPr sz="16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dërmarra</a:t>
            </a:r>
            <a:r>
              <a:rPr sz="16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ër 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ecilin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.</a:t>
            </a:r>
            <a:endParaRPr sz="160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400">
              <a:latin typeface="Ebrima"/>
              <a:cs typeface="Ebrima"/>
            </a:endParaRPr>
          </a:p>
          <a:p>
            <a:pPr marL="12700">
              <a:lnSpc>
                <a:spcPct val="100000"/>
              </a:lnSpc>
            </a:pPr>
            <a:r>
              <a:rPr sz="1600" spc="-5" dirty="0">
                <a:solidFill>
                  <a:srgbClr val="FF0000"/>
                </a:solidFill>
                <a:latin typeface="Ebrima"/>
                <a:cs typeface="Ebrima"/>
              </a:rPr>
              <a:t>1.</a:t>
            </a:r>
            <a:r>
              <a:rPr sz="1600" spc="-15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0"/>
                </a:solidFill>
                <a:latin typeface="Ebrima"/>
                <a:cs typeface="Ebrima"/>
              </a:rPr>
              <a:t>Risket</a:t>
            </a:r>
            <a:r>
              <a:rPr sz="1600" spc="10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FF0000"/>
                </a:solidFill>
                <a:latin typeface="Ebrima"/>
                <a:cs typeface="Ebrima"/>
              </a:rPr>
              <a:t>kryesore</a:t>
            </a:r>
            <a:r>
              <a:rPr sz="1600" spc="25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0"/>
                </a:solidFill>
                <a:latin typeface="Ebrima"/>
                <a:cs typeface="Ebrima"/>
              </a:rPr>
              <a:t>të</a:t>
            </a:r>
            <a:r>
              <a:rPr sz="1600" spc="-10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0"/>
                </a:solidFill>
                <a:latin typeface="Ebrima"/>
                <a:cs typeface="Ebrima"/>
              </a:rPr>
              <a:t>identifikuara:</a:t>
            </a:r>
            <a:endParaRPr sz="1600">
              <a:latin typeface="Ebrima"/>
              <a:cs typeface="Ebrima"/>
            </a:endParaRPr>
          </a:p>
          <a:p>
            <a:pPr marL="151130" indent="-139065">
              <a:lnSpc>
                <a:spcPct val="100000"/>
              </a:lnSpc>
              <a:buChar char="•"/>
              <a:tabLst>
                <a:tab pos="151765" algn="l"/>
              </a:tabLst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u</a:t>
            </a:r>
            <a:r>
              <a:rPr sz="1600" spc="-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600" spc="-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regut</a:t>
            </a:r>
            <a:endParaRPr sz="1600">
              <a:latin typeface="Ebrima"/>
              <a:cs typeface="Ebrima"/>
            </a:endParaRPr>
          </a:p>
          <a:p>
            <a:pPr marL="151130" indent="-139065">
              <a:lnSpc>
                <a:spcPct val="100000"/>
              </a:lnSpc>
              <a:buChar char="•"/>
              <a:tabLst>
                <a:tab pos="151765" algn="l"/>
              </a:tabLst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u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 marrjes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6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sigurim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jo-jetës</a:t>
            </a:r>
            <a:endParaRPr sz="1600">
              <a:latin typeface="Ebrima"/>
              <a:cs typeface="Ebrima"/>
            </a:endParaRPr>
          </a:p>
          <a:p>
            <a:pPr marL="151130" indent="-139065">
              <a:lnSpc>
                <a:spcPct val="100000"/>
              </a:lnSpc>
              <a:buChar char="•"/>
              <a:tabLst>
                <a:tab pos="151765" algn="l"/>
              </a:tabLst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u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i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arrjes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ë sigurim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produktit</a:t>
            </a:r>
            <a:r>
              <a:rPr sz="16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 shëndetit</a:t>
            </a:r>
            <a:endParaRPr sz="1600">
              <a:latin typeface="Ebrima"/>
              <a:cs typeface="Ebrima"/>
            </a:endParaRPr>
          </a:p>
          <a:p>
            <a:pPr marL="151130" indent="-139065">
              <a:lnSpc>
                <a:spcPct val="100000"/>
              </a:lnSpc>
              <a:buChar char="•"/>
              <a:tabLst>
                <a:tab pos="151765" algn="l"/>
              </a:tabLst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Rreziku i mospagimit</a:t>
            </a:r>
            <a:r>
              <a:rPr sz="16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alës</a:t>
            </a:r>
            <a:endParaRPr sz="1600">
              <a:latin typeface="Ebrima"/>
              <a:cs typeface="Ebrima"/>
            </a:endParaRPr>
          </a:p>
          <a:p>
            <a:pPr marL="151130" indent="-139065">
              <a:lnSpc>
                <a:spcPct val="100000"/>
              </a:lnSpc>
              <a:buChar char="•"/>
              <a:tabLst>
                <a:tab pos="151765" algn="l"/>
              </a:tabLst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u</a:t>
            </a:r>
            <a:r>
              <a:rPr sz="16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Operacional</a:t>
            </a:r>
            <a:endParaRPr sz="1600">
              <a:latin typeface="Ebrima"/>
              <a:cs typeface="Ebrima"/>
            </a:endParaRPr>
          </a:p>
          <a:p>
            <a:pPr marL="151130" indent="-139065">
              <a:lnSpc>
                <a:spcPct val="100000"/>
              </a:lnSpc>
              <a:spcBef>
                <a:spcPts val="5"/>
              </a:spcBef>
              <a:buChar char="•"/>
              <a:tabLst>
                <a:tab pos="151765" algn="l"/>
              </a:tabLst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u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ërputhshmërisë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ligjore</a:t>
            </a:r>
            <a:endParaRPr sz="1600">
              <a:latin typeface="Ebrima"/>
              <a:cs typeface="Ebrima"/>
            </a:endParaRPr>
          </a:p>
          <a:p>
            <a:pPr marL="151130" indent="-139065">
              <a:lnSpc>
                <a:spcPct val="100000"/>
              </a:lnSpc>
              <a:buChar char="•"/>
              <a:tabLst>
                <a:tab pos="151765" algn="l"/>
              </a:tabLst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u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 TI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dhe</a:t>
            </a:r>
            <a:r>
              <a:rPr sz="16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igurisë</a:t>
            </a:r>
            <a:endParaRPr sz="1600">
              <a:latin typeface="Ebrima"/>
              <a:cs typeface="Ebrima"/>
            </a:endParaRPr>
          </a:p>
          <a:p>
            <a:pPr marL="151130" indent="-139065">
              <a:lnSpc>
                <a:spcPct val="100000"/>
              </a:lnSpc>
              <a:buChar char="•"/>
              <a:tabLst>
                <a:tab pos="151765" algn="l"/>
              </a:tabLst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u</a:t>
            </a:r>
            <a:r>
              <a:rPr sz="1600" spc="-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600" spc="-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likuiditetit</a:t>
            </a:r>
            <a:endParaRPr sz="1600">
              <a:latin typeface="Ebrima"/>
              <a:cs typeface="Ebrima"/>
            </a:endParaRPr>
          </a:p>
          <a:p>
            <a:pPr marL="151130" indent="-139065">
              <a:lnSpc>
                <a:spcPct val="100000"/>
              </a:lnSpc>
              <a:buChar char="•"/>
              <a:tabLst>
                <a:tab pos="151765" algn="l"/>
              </a:tabLst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u</a:t>
            </a:r>
            <a:r>
              <a:rPr sz="1600" spc="-3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600" spc="-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reputacionit</a:t>
            </a:r>
            <a:endParaRPr sz="1600">
              <a:latin typeface="Ebrima"/>
              <a:cs typeface="Ebrima"/>
            </a:endParaRPr>
          </a:p>
          <a:p>
            <a:pPr marL="151130" indent="-139065">
              <a:lnSpc>
                <a:spcPct val="100000"/>
              </a:lnSpc>
              <a:buChar char="•"/>
              <a:tabLst>
                <a:tab pos="151765" algn="l"/>
              </a:tabLst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u</a:t>
            </a:r>
            <a:r>
              <a:rPr sz="16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trategjik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tj.</a:t>
            </a:r>
            <a:endParaRPr sz="1600">
              <a:latin typeface="Ebrima"/>
              <a:cs typeface="Ebrima"/>
            </a:endParaRPr>
          </a:p>
        </p:txBody>
      </p: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17</a:t>
            </a:fld>
            <a:endParaRPr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sz="half" idx="2"/>
          </p:nvPr>
        </p:nvSpPr>
        <p:spPr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74320" indent="-262255">
              <a:lnSpc>
                <a:spcPct val="100000"/>
              </a:lnSpc>
              <a:spcBef>
                <a:spcPts val="105"/>
              </a:spcBef>
              <a:buAutoNum type="arabicPeriod" startAt="2"/>
              <a:tabLst>
                <a:tab pos="274955" algn="l"/>
              </a:tabLst>
            </a:pPr>
            <a:r>
              <a:rPr dirty="0"/>
              <a:t>Prova</a:t>
            </a:r>
            <a:r>
              <a:rPr spc="-25" dirty="0"/>
              <a:t> </a:t>
            </a:r>
            <a:r>
              <a:rPr dirty="0"/>
              <a:t>e</a:t>
            </a:r>
            <a:r>
              <a:rPr spc="-5" dirty="0"/>
              <a:t> Rezistencës</a:t>
            </a:r>
          </a:p>
          <a:p>
            <a:pPr marL="12700" marR="5080">
              <a:lnSpc>
                <a:spcPct val="100000"/>
              </a:lnSpc>
              <a:spcBef>
                <a:spcPts val="15"/>
              </a:spcBef>
            </a:pPr>
            <a:r>
              <a:rPr sz="1600" spc="-10" dirty="0">
                <a:solidFill>
                  <a:srgbClr val="585858"/>
                </a:solidFill>
              </a:rPr>
              <a:t>Vlerësimi</a:t>
            </a:r>
            <a:r>
              <a:rPr sz="1600" spc="10" dirty="0">
                <a:solidFill>
                  <a:srgbClr val="585858"/>
                </a:solidFill>
              </a:rPr>
              <a:t> </a:t>
            </a:r>
            <a:r>
              <a:rPr sz="1600" spc="-10" dirty="0">
                <a:solidFill>
                  <a:srgbClr val="585858"/>
                </a:solidFill>
              </a:rPr>
              <a:t>dhe</a:t>
            </a:r>
            <a:r>
              <a:rPr sz="1600" spc="-5" dirty="0">
                <a:solidFill>
                  <a:srgbClr val="585858"/>
                </a:solidFill>
              </a:rPr>
              <a:t> klasifikimi</a:t>
            </a:r>
            <a:r>
              <a:rPr sz="1600" spc="2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i</a:t>
            </a:r>
            <a:r>
              <a:rPr sz="160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risqeve</a:t>
            </a:r>
            <a:r>
              <a:rPr sz="1600" spc="5" dirty="0">
                <a:solidFill>
                  <a:srgbClr val="585858"/>
                </a:solidFill>
              </a:rPr>
              <a:t> </a:t>
            </a:r>
            <a:r>
              <a:rPr sz="1600" spc="-10" dirty="0">
                <a:solidFill>
                  <a:srgbClr val="585858"/>
                </a:solidFill>
              </a:rPr>
              <a:t>dhe</a:t>
            </a:r>
            <a:r>
              <a:rPr sz="1600" spc="-5" dirty="0">
                <a:solidFill>
                  <a:srgbClr val="585858"/>
                </a:solidFill>
              </a:rPr>
              <a:t> kryerja</a:t>
            </a:r>
            <a:r>
              <a:rPr sz="1600" spc="3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e </a:t>
            </a:r>
            <a:r>
              <a:rPr sz="160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provave</a:t>
            </a:r>
            <a:r>
              <a:rPr sz="160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të rezistencës</a:t>
            </a:r>
            <a:r>
              <a:rPr sz="1600" spc="5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bëhet</a:t>
            </a:r>
            <a:r>
              <a:rPr sz="1600" spc="-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në</a:t>
            </a:r>
            <a:r>
              <a:rPr sz="1600" spc="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bazë</a:t>
            </a:r>
            <a:r>
              <a:rPr sz="1600" spc="-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skenari </a:t>
            </a:r>
            <a:r>
              <a:rPr sz="1600" dirty="0">
                <a:solidFill>
                  <a:srgbClr val="585858"/>
                </a:solidFill>
              </a:rPr>
              <a:t> </a:t>
            </a:r>
            <a:r>
              <a:rPr sz="1600" spc="-10" dirty="0">
                <a:solidFill>
                  <a:srgbClr val="585858"/>
                </a:solidFill>
              </a:rPr>
              <a:t>dhe</a:t>
            </a:r>
            <a:r>
              <a:rPr sz="1600" spc="-5" dirty="0">
                <a:solidFill>
                  <a:srgbClr val="585858"/>
                </a:solidFill>
              </a:rPr>
              <a:t> në</a:t>
            </a:r>
            <a:r>
              <a:rPr sz="1600" spc="15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bazë </a:t>
            </a:r>
            <a:r>
              <a:rPr sz="1600" spc="-10" dirty="0">
                <a:solidFill>
                  <a:srgbClr val="585858"/>
                </a:solidFill>
              </a:rPr>
              <a:t>ndjeshmërie</a:t>
            </a:r>
            <a:r>
              <a:rPr sz="1600" spc="2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ndaj</a:t>
            </a:r>
            <a:r>
              <a:rPr sz="1600" spc="5" dirty="0">
                <a:solidFill>
                  <a:srgbClr val="585858"/>
                </a:solidFill>
              </a:rPr>
              <a:t> </a:t>
            </a:r>
            <a:r>
              <a:rPr sz="1600" spc="-10" dirty="0">
                <a:solidFill>
                  <a:srgbClr val="585858"/>
                </a:solidFill>
              </a:rPr>
              <a:t>ngjarjes.</a:t>
            </a:r>
            <a:r>
              <a:rPr sz="1600" spc="20" dirty="0">
                <a:solidFill>
                  <a:srgbClr val="585858"/>
                </a:solidFill>
              </a:rPr>
              <a:t> </a:t>
            </a:r>
            <a:r>
              <a:rPr sz="1600" spc="-10" dirty="0">
                <a:solidFill>
                  <a:srgbClr val="585858"/>
                </a:solidFill>
              </a:rPr>
              <a:t>Nga</a:t>
            </a:r>
            <a:r>
              <a:rPr sz="1600" spc="5" dirty="0">
                <a:solidFill>
                  <a:srgbClr val="585858"/>
                </a:solidFill>
              </a:rPr>
              <a:t> </a:t>
            </a:r>
            <a:r>
              <a:rPr sz="1600" spc="-15" dirty="0">
                <a:solidFill>
                  <a:srgbClr val="585858"/>
                </a:solidFill>
              </a:rPr>
              <a:t>sa </a:t>
            </a:r>
            <a:r>
              <a:rPr sz="1600" spc="-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më sipër,</a:t>
            </a:r>
            <a:r>
              <a:rPr sz="1600" spc="15" dirty="0">
                <a:solidFill>
                  <a:srgbClr val="585858"/>
                </a:solidFill>
              </a:rPr>
              <a:t> </a:t>
            </a:r>
            <a:r>
              <a:rPr sz="1600" spc="-10" dirty="0">
                <a:solidFill>
                  <a:srgbClr val="585858"/>
                </a:solidFill>
              </a:rPr>
              <a:t>kryhet</a:t>
            </a:r>
            <a:r>
              <a:rPr sz="1600" spc="2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llogaritja</a:t>
            </a:r>
            <a:r>
              <a:rPr sz="1600" spc="2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e nevojave</a:t>
            </a:r>
            <a:r>
              <a:rPr sz="1600" spc="-15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per</a:t>
            </a:r>
            <a:r>
              <a:rPr sz="1600" spc="15" dirty="0">
                <a:solidFill>
                  <a:srgbClr val="585858"/>
                </a:solidFill>
              </a:rPr>
              <a:t> </a:t>
            </a:r>
            <a:r>
              <a:rPr sz="1600" spc="-10" dirty="0">
                <a:solidFill>
                  <a:srgbClr val="585858"/>
                </a:solidFill>
              </a:rPr>
              <a:t>kapital </a:t>
            </a:r>
            <a:r>
              <a:rPr sz="1600" spc="-42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shtesë</a:t>
            </a:r>
            <a:r>
              <a:rPr sz="1600" spc="-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ne</a:t>
            </a:r>
            <a:r>
              <a:rPr sz="1600" spc="5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rast</a:t>
            </a:r>
            <a:r>
              <a:rPr sz="1600" spc="-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se, gjate</a:t>
            </a:r>
            <a:r>
              <a:rPr sz="1600" spc="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vitit</a:t>
            </a:r>
            <a:r>
              <a:rPr sz="1600" spc="-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të</a:t>
            </a:r>
            <a:r>
              <a:rPr sz="1600" spc="-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ardhshëm, </a:t>
            </a:r>
            <a:r>
              <a:rPr sz="1600" dirty="0">
                <a:solidFill>
                  <a:srgbClr val="585858"/>
                </a:solidFill>
              </a:rPr>
              <a:t> </a:t>
            </a:r>
            <a:r>
              <a:rPr sz="1600" spc="-10" dirty="0">
                <a:solidFill>
                  <a:srgbClr val="585858"/>
                </a:solidFill>
              </a:rPr>
              <a:t>ndodhin</a:t>
            </a:r>
            <a:r>
              <a:rPr sz="1600" spc="-5" dirty="0">
                <a:solidFill>
                  <a:srgbClr val="585858"/>
                </a:solidFill>
              </a:rPr>
              <a:t> te </a:t>
            </a:r>
            <a:r>
              <a:rPr sz="1600" spc="-10" dirty="0">
                <a:solidFill>
                  <a:srgbClr val="585858"/>
                </a:solidFill>
              </a:rPr>
              <a:t>gjithë</a:t>
            </a:r>
            <a:r>
              <a:rPr sz="1600" spc="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skenarët</a:t>
            </a:r>
            <a:r>
              <a:rPr sz="1600" spc="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e</a:t>
            </a:r>
            <a:r>
              <a:rPr sz="1600" spc="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menduar </a:t>
            </a:r>
            <a:r>
              <a:rPr sz="1600" spc="-10" dirty="0">
                <a:solidFill>
                  <a:srgbClr val="585858"/>
                </a:solidFill>
              </a:rPr>
              <a:t>të </a:t>
            </a:r>
            <a:r>
              <a:rPr sz="1600" spc="-5" dirty="0">
                <a:solidFill>
                  <a:srgbClr val="585858"/>
                </a:solidFill>
              </a:rPr>
              <a:t> situatave</a:t>
            </a:r>
            <a:r>
              <a:rPr sz="1600" spc="-25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katastrofike,</a:t>
            </a:r>
            <a:r>
              <a:rPr sz="1600" spc="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epidemike</a:t>
            </a:r>
            <a:r>
              <a:rPr sz="1600" spc="-10" dirty="0">
                <a:solidFill>
                  <a:srgbClr val="585858"/>
                </a:solidFill>
              </a:rPr>
              <a:t> dhe</a:t>
            </a:r>
            <a:r>
              <a:rPr sz="1600" spc="5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te</a:t>
            </a:r>
            <a:r>
              <a:rPr sz="1600" spc="-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krizave </a:t>
            </a:r>
            <a:r>
              <a:rPr sz="160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financiare.</a:t>
            </a:r>
            <a:endParaRPr sz="1600"/>
          </a:p>
          <a:p>
            <a:pPr>
              <a:lnSpc>
                <a:spcPct val="100000"/>
              </a:lnSpc>
              <a:spcBef>
                <a:spcPts val="5"/>
              </a:spcBef>
            </a:pPr>
            <a:endParaRPr sz="1400"/>
          </a:p>
          <a:p>
            <a:pPr marL="12700" marR="150495">
              <a:lnSpc>
                <a:spcPct val="100000"/>
              </a:lnSpc>
              <a:buAutoNum type="arabicPeriod" startAt="3"/>
              <a:tabLst>
                <a:tab pos="274955" algn="l"/>
              </a:tabLst>
            </a:pPr>
            <a:r>
              <a:rPr dirty="0"/>
              <a:t>Administrimi i Kapitalit dhe </a:t>
            </a:r>
            <a:r>
              <a:rPr spc="-5" dirty="0"/>
              <a:t>Niveli </a:t>
            </a:r>
            <a:r>
              <a:rPr dirty="0"/>
              <a:t>i </a:t>
            </a:r>
            <a:r>
              <a:rPr spc="-535" dirty="0"/>
              <a:t> </a:t>
            </a:r>
            <a:r>
              <a:rPr dirty="0"/>
              <a:t>Aftësisë</a:t>
            </a:r>
            <a:r>
              <a:rPr spc="-10" dirty="0"/>
              <a:t> </a:t>
            </a:r>
            <a:r>
              <a:rPr dirty="0"/>
              <a:t>Paguese</a:t>
            </a:r>
          </a:p>
          <a:p>
            <a:pPr marL="12700" marR="135255">
              <a:lnSpc>
                <a:spcPct val="100000"/>
              </a:lnSpc>
              <a:spcBef>
                <a:spcPts val="15"/>
              </a:spcBef>
            </a:pPr>
            <a:r>
              <a:rPr sz="1600" spc="-5" dirty="0">
                <a:solidFill>
                  <a:srgbClr val="585858"/>
                </a:solidFill>
              </a:rPr>
              <a:t>Intersig</a:t>
            </a:r>
            <a:r>
              <a:rPr sz="1600" spc="5" dirty="0">
                <a:solidFill>
                  <a:srgbClr val="585858"/>
                </a:solidFill>
              </a:rPr>
              <a:t> </a:t>
            </a:r>
            <a:r>
              <a:rPr sz="1600" spc="-10" dirty="0">
                <a:solidFill>
                  <a:srgbClr val="585858"/>
                </a:solidFill>
              </a:rPr>
              <a:t>sigurohet</a:t>
            </a:r>
            <a:r>
              <a:rPr sz="1600" spc="20" dirty="0">
                <a:solidFill>
                  <a:srgbClr val="585858"/>
                </a:solidFill>
              </a:rPr>
              <a:t> </a:t>
            </a:r>
            <a:r>
              <a:rPr sz="1600" spc="-10" dirty="0">
                <a:solidFill>
                  <a:srgbClr val="585858"/>
                </a:solidFill>
              </a:rPr>
              <a:t>që</a:t>
            </a:r>
            <a:r>
              <a:rPr sz="1600" spc="-5" dirty="0">
                <a:solidFill>
                  <a:srgbClr val="585858"/>
                </a:solidFill>
              </a:rPr>
              <a:t> të mbajë një</a:t>
            </a:r>
            <a:r>
              <a:rPr sz="1600" spc="5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fond </a:t>
            </a:r>
            <a:r>
              <a:rPr sz="160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garancie</a:t>
            </a:r>
            <a:r>
              <a:rPr sz="1600" spc="5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jo më pak</a:t>
            </a:r>
            <a:r>
              <a:rPr sz="160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se</a:t>
            </a:r>
            <a:r>
              <a:rPr sz="160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1/3</a:t>
            </a:r>
            <a:r>
              <a:rPr sz="1600" spc="-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e marzhit</a:t>
            </a:r>
            <a:r>
              <a:rPr sz="160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të</a:t>
            </a:r>
            <a:r>
              <a:rPr sz="1600" spc="-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aftësisë </a:t>
            </a:r>
            <a:r>
              <a:rPr sz="1600" spc="-42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paguese</a:t>
            </a:r>
            <a:r>
              <a:rPr sz="1600" spc="-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minimale,</a:t>
            </a:r>
            <a:r>
              <a:rPr sz="1600" spc="-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në</a:t>
            </a:r>
            <a:r>
              <a:rPr sz="1600" spc="5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përputhje</a:t>
            </a:r>
            <a:r>
              <a:rPr sz="1600" spc="1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me </a:t>
            </a:r>
            <a:r>
              <a:rPr sz="160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parashikimet</a:t>
            </a:r>
            <a:r>
              <a:rPr sz="1600" spc="15" dirty="0">
                <a:solidFill>
                  <a:srgbClr val="585858"/>
                </a:solidFill>
              </a:rPr>
              <a:t> </a:t>
            </a:r>
            <a:r>
              <a:rPr sz="1600" spc="-10" dirty="0">
                <a:solidFill>
                  <a:srgbClr val="585858"/>
                </a:solidFill>
              </a:rPr>
              <a:t>ligjore</a:t>
            </a:r>
            <a:r>
              <a:rPr sz="1600" spc="20" dirty="0">
                <a:solidFill>
                  <a:srgbClr val="585858"/>
                </a:solidFill>
              </a:rPr>
              <a:t> </a:t>
            </a:r>
            <a:r>
              <a:rPr sz="1600" spc="-5" dirty="0">
                <a:solidFill>
                  <a:srgbClr val="585858"/>
                </a:solidFill>
              </a:rPr>
              <a:t>në fuqi.</a:t>
            </a:r>
            <a:endParaRPr sz="1600"/>
          </a:p>
        </p:txBody>
      </p:sp>
      <p:grpSp>
        <p:nvGrpSpPr>
          <p:cNvPr id="3" name="object 3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4" name="object 4"/>
            <p:cNvSpPr/>
            <p:nvPr/>
          </p:nvSpPr>
          <p:spPr>
            <a:xfrm>
              <a:off x="0" y="961644"/>
              <a:ext cx="12192000" cy="45720"/>
            </a:xfrm>
            <a:custGeom>
              <a:avLst/>
              <a:gdLst/>
              <a:ahLst/>
              <a:cxnLst/>
              <a:rect l="l" t="t" r="r" b="b"/>
              <a:pathLst>
                <a:path w="12192000" h="45719">
                  <a:moveTo>
                    <a:pt x="12192000" y="0"/>
                  </a:moveTo>
                  <a:lnTo>
                    <a:pt x="0" y="0"/>
                  </a:lnTo>
                  <a:lnTo>
                    <a:pt x="0" y="45720"/>
                  </a:lnTo>
                  <a:lnTo>
                    <a:pt x="12192000" y="45720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000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520065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0" dirty="0"/>
              <a:t>Vlerësimi </a:t>
            </a:r>
            <a:r>
              <a:rPr spc="-5" dirty="0"/>
              <a:t>dhe</a:t>
            </a:r>
            <a:r>
              <a:rPr spc="-10" dirty="0"/>
              <a:t> </a:t>
            </a:r>
            <a:r>
              <a:rPr spc="-5" dirty="0"/>
              <a:t>Menaxhimi</a:t>
            </a:r>
            <a:r>
              <a:rPr spc="5" dirty="0"/>
              <a:t> </a:t>
            </a:r>
            <a:r>
              <a:rPr spc="-5" dirty="0"/>
              <a:t>i</a:t>
            </a:r>
            <a:r>
              <a:rPr spc="-10" dirty="0"/>
              <a:t> Riskut</a:t>
            </a:r>
          </a:p>
        </p:txBody>
      </p:sp>
      <p:grpSp>
        <p:nvGrpSpPr>
          <p:cNvPr id="10" name="object 10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1" name="object 11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5687948" y="1510411"/>
            <a:ext cx="4297680" cy="29521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21615" indent="-209550">
              <a:lnSpc>
                <a:spcPct val="100000"/>
              </a:lnSpc>
              <a:spcBef>
                <a:spcPts val="95"/>
              </a:spcBef>
              <a:buAutoNum type="arabicPeriod" startAt="4"/>
              <a:tabLst>
                <a:tab pos="222250" algn="l"/>
              </a:tabLst>
            </a:pPr>
            <a:r>
              <a:rPr sz="1600" spc="-10" dirty="0">
                <a:solidFill>
                  <a:srgbClr val="FF0004"/>
                </a:solidFill>
                <a:latin typeface="Ebrima"/>
                <a:cs typeface="Ebrima"/>
              </a:rPr>
              <a:t>Plani</a:t>
            </a:r>
            <a:r>
              <a:rPr sz="160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4"/>
                </a:solidFill>
                <a:latin typeface="Ebrima"/>
                <a:cs typeface="Ebrima"/>
              </a:rPr>
              <a:t>i Vazhdimësisë</a:t>
            </a:r>
            <a:r>
              <a:rPr sz="160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FF0004"/>
                </a:solidFill>
                <a:latin typeface="Ebrima"/>
                <a:cs typeface="Ebrima"/>
              </a:rPr>
              <a:t>së</a:t>
            </a:r>
            <a:r>
              <a:rPr sz="1600" spc="5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4"/>
                </a:solidFill>
                <a:latin typeface="Ebrima"/>
                <a:cs typeface="Ebrima"/>
              </a:rPr>
              <a:t>Aktivitetit</a:t>
            </a:r>
            <a:endParaRPr sz="1600">
              <a:latin typeface="Ebrima"/>
              <a:cs typeface="Ebrima"/>
            </a:endParaRPr>
          </a:p>
          <a:p>
            <a:pPr marL="12700" marR="5080">
              <a:lnSpc>
                <a:spcPct val="100000"/>
              </a:lnSpc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ntersig ka hartuar planin e vazhdueshmërisë </a:t>
            </a:r>
            <a:r>
              <a:rPr sz="1600" spc="-15" dirty="0">
                <a:solidFill>
                  <a:srgbClr val="585858"/>
                </a:solidFill>
                <a:latin typeface="Ebrima"/>
                <a:cs typeface="Ebrima"/>
              </a:rPr>
              <a:t>së </a:t>
            </a:r>
            <a:r>
              <a:rPr sz="1600" spc="-4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aktivitetit,</a:t>
            </a:r>
            <a:r>
              <a:rPr sz="16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cilin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parashikohen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skenaret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 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risqeve të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ndryshme</a:t>
            </a:r>
            <a:r>
              <a:rPr sz="16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undshm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i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dhe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asat </a:t>
            </a:r>
            <a:r>
              <a:rPr sz="1600" spc="-4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që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duhet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 ndërmerren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ë çdo rast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nga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personat</a:t>
            </a:r>
            <a:r>
              <a:rPr sz="16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ërgjegjës.</a:t>
            </a:r>
            <a:endParaRPr sz="160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1400">
              <a:latin typeface="Ebrima"/>
              <a:cs typeface="Ebrima"/>
            </a:endParaRPr>
          </a:p>
          <a:p>
            <a:pPr marL="221615" indent="-209550">
              <a:lnSpc>
                <a:spcPct val="100000"/>
              </a:lnSpc>
              <a:buAutoNum type="arabicPeriod" startAt="5"/>
              <a:tabLst>
                <a:tab pos="222250" algn="l"/>
              </a:tabLst>
            </a:pPr>
            <a:r>
              <a:rPr sz="1600" spc="-5" dirty="0">
                <a:solidFill>
                  <a:srgbClr val="FF0004"/>
                </a:solidFill>
                <a:latin typeface="Ebrima"/>
                <a:cs typeface="Ebrima"/>
              </a:rPr>
              <a:t>Profili</a:t>
            </a:r>
            <a:r>
              <a:rPr sz="1600" spc="2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4"/>
                </a:solidFill>
                <a:latin typeface="Ebrima"/>
                <a:cs typeface="Ebrima"/>
              </a:rPr>
              <a:t>i</a:t>
            </a:r>
            <a:r>
              <a:rPr sz="160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FF0004"/>
                </a:solidFill>
                <a:latin typeface="Ebrima"/>
                <a:cs typeface="Ebrima"/>
              </a:rPr>
              <a:t>Përgjithshëm</a:t>
            </a:r>
            <a:r>
              <a:rPr sz="1600" spc="3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4"/>
                </a:solidFill>
                <a:latin typeface="Ebrima"/>
                <a:cs typeface="Ebrima"/>
              </a:rPr>
              <a:t>i </a:t>
            </a:r>
            <a:r>
              <a:rPr sz="1600" spc="-10" dirty="0">
                <a:solidFill>
                  <a:srgbClr val="FF0004"/>
                </a:solidFill>
                <a:latin typeface="Ebrima"/>
                <a:cs typeface="Ebrima"/>
              </a:rPr>
              <a:t>Riskut</a:t>
            </a:r>
            <a:endParaRPr sz="1600">
              <a:latin typeface="Ebrima"/>
              <a:cs typeface="Ebrima"/>
            </a:endParaRPr>
          </a:p>
          <a:p>
            <a:pPr marL="12700" marR="28575">
              <a:lnSpc>
                <a:spcPct val="100000"/>
              </a:lnSpc>
              <a:spcBef>
                <a:spcPts val="5"/>
              </a:spcBef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ntersig ka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arrë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asat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evojshm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ër 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brojtjen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nga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asojat e skenarëv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 mësipërm </a:t>
            </a:r>
            <a:r>
              <a:rPr sz="1600" spc="-4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dhe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 për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rjedhojë,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risku</a:t>
            </a:r>
            <a:r>
              <a:rPr sz="16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shoqërisë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rezulton i 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menaxhueshëm.</a:t>
            </a:r>
            <a:endParaRPr sz="1600">
              <a:latin typeface="Ebrima"/>
              <a:cs typeface="Ebri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18</a:t>
            </a:fld>
            <a:endParaRPr dirty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458723" y="17"/>
            <a:ext cx="11733576" cy="6858507"/>
            <a:chOff x="458723" y="17"/>
            <a:chExt cx="11733576" cy="6858507"/>
          </a:xfrm>
        </p:grpSpPr>
        <p:sp>
          <p:nvSpPr>
            <p:cNvPr id="4" name="object 4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8" name="object 8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58723" y="1370075"/>
              <a:ext cx="495300" cy="390144"/>
            </a:xfrm>
            <a:prstGeom prst="rect">
              <a:avLst/>
            </a:prstGeom>
          </p:spPr>
        </p:pic>
      </p:grp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819277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0" dirty="0"/>
              <a:t>Përmbledhje</a:t>
            </a:r>
            <a:r>
              <a:rPr spc="15" dirty="0"/>
              <a:t> </a:t>
            </a:r>
            <a:r>
              <a:rPr spc="-5" dirty="0"/>
              <a:t>e</a:t>
            </a:r>
            <a:r>
              <a:rPr dirty="0"/>
              <a:t> </a:t>
            </a:r>
            <a:r>
              <a:rPr spc="-10" dirty="0"/>
              <a:t>aktivitetit</a:t>
            </a:r>
            <a:r>
              <a:rPr dirty="0"/>
              <a:t> </a:t>
            </a:r>
            <a:r>
              <a:rPr spc="-5" dirty="0"/>
              <a:t>të</a:t>
            </a:r>
            <a:r>
              <a:rPr spc="-10" dirty="0"/>
              <a:t> </a:t>
            </a:r>
            <a:r>
              <a:rPr spc="-5" dirty="0"/>
              <a:t>Audituesit</a:t>
            </a:r>
            <a:r>
              <a:rPr spc="15" dirty="0"/>
              <a:t> </a:t>
            </a:r>
            <a:r>
              <a:rPr spc="-5" dirty="0"/>
              <a:t>të</a:t>
            </a:r>
            <a:r>
              <a:rPr dirty="0"/>
              <a:t> </a:t>
            </a:r>
            <a:r>
              <a:rPr spc="-5" dirty="0"/>
              <a:t>Brendshëm</a:t>
            </a:r>
          </a:p>
        </p:txBody>
      </p:sp>
      <p:grpSp>
        <p:nvGrpSpPr>
          <p:cNvPr id="10" name="object 10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1" name="object 11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699922" y="1223518"/>
            <a:ext cx="4818380" cy="228909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6350" algn="just">
              <a:lnSpc>
                <a:spcPct val="100000"/>
              </a:lnSpc>
              <a:spcBef>
                <a:spcPts val="105"/>
              </a:spcBef>
            </a:pPr>
            <a:r>
              <a:rPr sz="1400" spc="-5" dirty="0">
                <a:solidFill>
                  <a:srgbClr val="FF0000"/>
                </a:solidFill>
                <a:latin typeface="Ebrima"/>
                <a:cs typeface="Ebrima"/>
              </a:rPr>
              <a:t>Auditimet</a:t>
            </a:r>
            <a:r>
              <a:rPr sz="1400" dirty="0">
                <a:solidFill>
                  <a:srgbClr val="FF0000"/>
                </a:solidFill>
                <a:latin typeface="Ebrima"/>
                <a:cs typeface="Ebrima"/>
              </a:rPr>
              <a:t> dhe</a:t>
            </a:r>
            <a:r>
              <a:rPr sz="1400" spc="5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FF0000"/>
                </a:solidFill>
                <a:latin typeface="Ebrima"/>
                <a:cs typeface="Ebrima"/>
              </a:rPr>
              <a:t>kontrollet</a:t>
            </a:r>
            <a:r>
              <a:rPr sz="1400" dirty="0">
                <a:solidFill>
                  <a:srgbClr val="FF0000"/>
                </a:solidFill>
                <a:latin typeface="Ebrima"/>
                <a:cs typeface="Ebrima"/>
              </a:rPr>
              <a:t> e</a:t>
            </a:r>
            <a:r>
              <a:rPr sz="1400" spc="5" dirty="0">
                <a:solidFill>
                  <a:srgbClr val="FF0000"/>
                </a:solidFill>
                <a:latin typeface="Ebrima"/>
                <a:cs typeface="Ebrima"/>
              </a:rPr>
              <a:t> </a:t>
            </a:r>
            <a:r>
              <a:rPr sz="1400" dirty="0" err="1" smtClean="0">
                <a:solidFill>
                  <a:srgbClr val="FF0000"/>
                </a:solidFill>
                <a:latin typeface="Ebrima"/>
                <a:cs typeface="Ebrima"/>
              </a:rPr>
              <a:t>kryera</a:t>
            </a:r>
            <a:endParaRPr sz="1400" dirty="0">
              <a:solidFill>
                <a:srgbClr val="FF0000"/>
              </a:solidFill>
              <a:latin typeface="Ebrima"/>
              <a:cs typeface="Ebrima"/>
            </a:endParaRPr>
          </a:p>
        </p:txBody>
      </p:sp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19</a:t>
            </a:fld>
            <a:endParaRPr dirty="0"/>
          </a:p>
        </p:txBody>
      </p:sp>
      <p:pic>
        <p:nvPicPr>
          <p:cNvPr id="5124" name="Picture 4" descr="50+ Free Audit &amp; Tax Images - Pixabay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2462" y="3775145"/>
            <a:ext cx="3703857" cy="2463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180538" y="1454512"/>
            <a:ext cx="9144000" cy="23955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Aft>
                <a:spcPts val="800"/>
              </a:spcAft>
            </a:pP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SIG -</a:t>
            </a:r>
            <a:r>
              <a:rPr lang="en-US" sz="2000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mbledhje</a:t>
            </a: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sz="2000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zultateve</a:t>
            </a: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ditimit</a:t>
            </a: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endshem</a:t>
            </a: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sz="2000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tn</a:t>
            </a: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22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0000"/>
              </a:lnSpc>
              <a:spcAft>
                <a:spcPts val="800"/>
              </a:spcAft>
            </a:pP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rj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ivitet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ditue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ja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22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sig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G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h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z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rniz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ullat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b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g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-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gjislacion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F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primtari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sigu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im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s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di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endshe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G Group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ull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r.153 “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ë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primtarinë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jesisë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ë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di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ë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endshe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ullor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endshm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se</a:t>
            </a:r>
            <a:r>
              <a:rPr lang="en-US" dirty="0" smtClean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2875788" y="394715"/>
            <a:ext cx="1121664" cy="498348"/>
          </a:xfrm>
          <a:prstGeom prst="rect">
            <a:avLst/>
          </a:prstGeom>
        </p:spPr>
      </p:pic>
      <p:grpSp>
        <p:nvGrpSpPr>
          <p:cNvPr id="3" name="object 3"/>
          <p:cNvGrpSpPr/>
          <p:nvPr/>
        </p:nvGrpSpPr>
        <p:grpSpPr>
          <a:xfrm>
            <a:off x="7007352" y="443539"/>
            <a:ext cx="1604645" cy="448309"/>
            <a:chOff x="7007352" y="443539"/>
            <a:chExt cx="1604645" cy="448309"/>
          </a:xfrm>
        </p:grpSpPr>
        <p:sp>
          <p:nvSpPr>
            <p:cNvPr id="4" name="object 4"/>
            <p:cNvSpPr/>
            <p:nvPr/>
          </p:nvSpPr>
          <p:spPr>
            <a:xfrm>
              <a:off x="7007534" y="443539"/>
              <a:ext cx="1604010" cy="320040"/>
            </a:xfrm>
            <a:custGeom>
              <a:avLst/>
              <a:gdLst/>
              <a:ahLst/>
              <a:cxnLst/>
              <a:rect l="l" t="t" r="r" b="b"/>
              <a:pathLst>
                <a:path w="1604009" h="320040">
                  <a:moveTo>
                    <a:pt x="1518886" y="171"/>
                  </a:moveTo>
                  <a:lnTo>
                    <a:pt x="1461239" y="10081"/>
                  </a:lnTo>
                  <a:lnTo>
                    <a:pt x="1415837" y="39690"/>
                  </a:lnTo>
                  <a:lnTo>
                    <a:pt x="1386794" y="83649"/>
                  </a:lnTo>
                  <a:lnTo>
                    <a:pt x="1377145" y="137126"/>
                  </a:lnTo>
                  <a:lnTo>
                    <a:pt x="1379345" y="165110"/>
                  </a:lnTo>
                  <a:lnTo>
                    <a:pt x="1396954" y="212804"/>
                  </a:lnTo>
                  <a:lnTo>
                    <a:pt x="1432103" y="248467"/>
                  </a:lnTo>
                  <a:lnTo>
                    <a:pt x="1482180" y="266791"/>
                  </a:lnTo>
                  <a:lnTo>
                    <a:pt x="1512654" y="269095"/>
                  </a:lnTo>
                  <a:lnTo>
                    <a:pt x="1539272" y="268136"/>
                  </a:lnTo>
                  <a:lnTo>
                    <a:pt x="1563323" y="265281"/>
                  </a:lnTo>
                  <a:lnTo>
                    <a:pt x="1584863" y="260565"/>
                  </a:lnTo>
                  <a:lnTo>
                    <a:pt x="1603946" y="254023"/>
                  </a:lnTo>
                  <a:lnTo>
                    <a:pt x="1603946" y="222589"/>
                  </a:lnTo>
                  <a:lnTo>
                    <a:pt x="1517420" y="222589"/>
                  </a:lnTo>
                  <a:lnTo>
                    <a:pt x="1498865" y="221136"/>
                  </a:lnTo>
                  <a:lnTo>
                    <a:pt x="1457096" y="199062"/>
                  </a:lnTo>
                  <a:lnTo>
                    <a:pt x="1437982" y="155644"/>
                  </a:lnTo>
                  <a:lnTo>
                    <a:pt x="1436735" y="137861"/>
                  </a:lnTo>
                  <a:lnTo>
                    <a:pt x="1438275" y="118385"/>
                  </a:lnTo>
                  <a:lnTo>
                    <a:pt x="1460933" y="72593"/>
                  </a:lnTo>
                  <a:lnTo>
                    <a:pt x="1505421" y="49882"/>
                  </a:lnTo>
                  <a:lnTo>
                    <a:pt x="1523652" y="48338"/>
                  </a:lnTo>
                  <a:lnTo>
                    <a:pt x="1552250" y="48338"/>
                  </a:lnTo>
                  <a:lnTo>
                    <a:pt x="1552250" y="2376"/>
                  </a:lnTo>
                  <a:lnTo>
                    <a:pt x="1544380" y="1494"/>
                  </a:lnTo>
                  <a:lnTo>
                    <a:pt x="1536182" y="796"/>
                  </a:lnTo>
                  <a:lnTo>
                    <a:pt x="1527677" y="337"/>
                  </a:lnTo>
                  <a:lnTo>
                    <a:pt x="1518886" y="171"/>
                  </a:lnTo>
                  <a:close/>
                </a:path>
                <a:path w="1604009" h="320040">
                  <a:moveTo>
                    <a:pt x="1603946" y="151458"/>
                  </a:moveTo>
                  <a:lnTo>
                    <a:pt x="1552250" y="151458"/>
                  </a:lnTo>
                  <a:lnTo>
                    <a:pt x="1552250" y="216709"/>
                  </a:lnTo>
                  <a:lnTo>
                    <a:pt x="1544127" y="219333"/>
                  </a:lnTo>
                  <a:lnTo>
                    <a:pt x="1535660" y="221165"/>
                  </a:lnTo>
                  <a:lnTo>
                    <a:pt x="1526781" y="222239"/>
                  </a:lnTo>
                  <a:lnTo>
                    <a:pt x="1517420" y="222589"/>
                  </a:lnTo>
                  <a:lnTo>
                    <a:pt x="1603946" y="222589"/>
                  </a:lnTo>
                  <a:lnTo>
                    <a:pt x="1603946" y="151458"/>
                  </a:lnTo>
                  <a:close/>
                </a:path>
                <a:path w="1604009" h="320040">
                  <a:moveTo>
                    <a:pt x="1552250" y="48338"/>
                  </a:moveTo>
                  <a:lnTo>
                    <a:pt x="1523652" y="48338"/>
                  </a:lnTo>
                  <a:lnTo>
                    <a:pt x="1531008" y="48509"/>
                  </a:lnTo>
                  <a:lnTo>
                    <a:pt x="1538226" y="49009"/>
                  </a:lnTo>
                  <a:lnTo>
                    <a:pt x="1545307" y="49816"/>
                  </a:lnTo>
                  <a:lnTo>
                    <a:pt x="1552250" y="50911"/>
                  </a:lnTo>
                  <a:lnTo>
                    <a:pt x="1552250" y="48338"/>
                  </a:lnTo>
                  <a:close/>
                </a:path>
                <a:path w="1604009" h="320040">
                  <a:moveTo>
                    <a:pt x="1591309" y="5512"/>
                  </a:moveTo>
                  <a:lnTo>
                    <a:pt x="1570044" y="27391"/>
                  </a:lnTo>
                  <a:lnTo>
                    <a:pt x="1571511" y="31433"/>
                  </a:lnTo>
                  <a:lnTo>
                    <a:pt x="1574615" y="34545"/>
                  </a:lnTo>
                  <a:lnTo>
                    <a:pt x="1577548" y="37852"/>
                  </a:lnTo>
                  <a:lnTo>
                    <a:pt x="1581581" y="39322"/>
                  </a:lnTo>
                  <a:lnTo>
                    <a:pt x="1591309" y="39322"/>
                  </a:lnTo>
                  <a:lnTo>
                    <a:pt x="1595146" y="37852"/>
                  </a:lnTo>
                  <a:lnTo>
                    <a:pt x="1596784" y="36211"/>
                  </a:lnTo>
                  <a:lnTo>
                    <a:pt x="1582681" y="36211"/>
                  </a:lnTo>
                  <a:lnTo>
                    <a:pt x="1579577" y="34912"/>
                  </a:lnTo>
                  <a:lnTo>
                    <a:pt x="1574615" y="29596"/>
                  </a:lnTo>
                  <a:lnTo>
                    <a:pt x="1573344" y="26288"/>
                  </a:lnTo>
                  <a:lnTo>
                    <a:pt x="1573344" y="18742"/>
                  </a:lnTo>
                  <a:lnTo>
                    <a:pt x="1574615" y="15435"/>
                  </a:lnTo>
                  <a:lnTo>
                    <a:pt x="1579748" y="10290"/>
                  </a:lnTo>
                  <a:lnTo>
                    <a:pt x="1582876" y="8820"/>
                  </a:lnTo>
                  <a:lnTo>
                    <a:pt x="1596906" y="8820"/>
                  </a:lnTo>
                  <a:lnTo>
                    <a:pt x="1595342" y="7154"/>
                  </a:lnTo>
                  <a:lnTo>
                    <a:pt x="1591309" y="5512"/>
                  </a:lnTo>
                  <a:close/>
                </a:path>
                <a:path w="1604009" h="320040">
                  <a:moveTo>
                    <a:pt x="1596906" y="8820"/>
                  </a:moveTo>
                  <a:lnTo>
                    <a:pt x="1590380" y="8820"/>
                  </a:lnTo>
                  <a:lnTo>
                    <a:pt x="1593509" y="10290"/>
                  </a:lnTo>
                  <a:lnTo>
                    <a:pt x="1598642" y="15435"/>
                  </a:lnTo>
                  <a:lnTo>
                    <a:pt x="1599913" y="18742"/>
                  </a:lnTo>
                  <a:lnTo>
                    <a:pt x="1599913" y="26288"/>
                  </a:lnTo>
                  <a:lnTo>
                    <a:pt x="1598642" y="29596"/>
                  </a:lnTo>
                  <a:lnTo>
                    <a:pt x="1593509" y="34741"/>
                  </a:lnTo>
                  <a:lnTo>
                    <a:pt x="1590380" y="36211"/>
                  </a:lnTo>
                  <a:lnTo>
                    <a:pt x="1596784" y="36211"/>
                  </a:lnTo>
                  <a:lnTo>
                    <a:pt x="1601746" y="31237"/>
                  </a:lnTo>
                  <a:lnTo>
                    <a:pt x="1603141" y="27391"/>
                  </a:lnTo>
                  <a:lnTo>
                    <a:pt x="1603150" y="17468"/>
                  </a:lnTo>
                  <a:lnTo>
                    <a:pt x="1601746" y="13597"/>
                  </a:lnTo>
                  <a:lnTo>
                    <a:pt x="1598446" y="10461"/>
                  </a:lnTo>
                  <a:lnTo>
                    <a:pt x="1596906" y="8820"/>
                  </a:lnTo>
                  <a:close/>
                </a:path>
                <a:path w="1604009" h="320040">
                  <a:moveTo>
                    <a:pt x="1591309" y="12862"/>
                  </a:moveTo>
                  <a:lnTo>
                    <a:pt x="1579748" y="12862"/>
                  </a:lnTo>
                  <a:lnTo>
                    <a:pt x="1579748" y="31433"/>
                  </a:lnTo>
                  <a:lnTo>
                    <a:pt x="1584343" y="31433"/>
                  </a:lnTo>
                  <a:lnTo>
                    <a:pt x="1584343" y="16366"/>
                  </a:lnTo>
                  <a:lnTo>
                    <a:pt x="1594609" y="16366"/>
                  </a:lnTo>
                  <a:lnTo>
                    <a:pt x="1594609" y="15067"/>
                  </a:lnTo>
                  <a:lnTo>
                    <a:pt x="1591309" y="12862"/>
                  </a:lnTo>
                  <a:close/>
                </a:path>
                <a:path w="1604009" h="320040">
                  <a:moveTo>
                    <a:pt x="1594609" y="16366"/>
                  </a:moveTo>
                  <a:lnTo>
                    <a:pt x="1588743" y="16366"/>
                  </a:lnTo>
                  <a:lnTo>
                    <a:pt x="1590014" y="17468"/>
                  </a:lnTo>
                  <a:lnTo>
                    <a:pt x="1590014" y="21143"/>
                  </a:lnTo>
                  <a:lnTo>
                    <a:pt x="1588547" y="22246"/>
                  </a:lnTo>
                  <a:lnTo>
                    <a:pt x="1585614" y="22613"/>
                  </a:lnTo>
                  <a:lnTo>
                    <a:pt x="1585614" y="23348"/>
                  </a:lnTo>
                  <a:lnTo>
                    <a:pt x="1590380" y="31433"/>
                  </a:lnTo>
                  <a:lnTo>
                    <a:pt x="1595513" y="31433"/>
                  </a:lnTo>
                  <a:lnTo>
                    <a:pt x="1590576" y="24255"/>
                  </a:lnTo>
                  <a:lnTo>
                    <a:pt x="1593313" y="23152"/>
                  </a:lnTo>
                  <a:lnTo>
                    <a:pt x="1594609" y="21315"/>
                  </a:lnTo>
                  <a:lnTo>
                    <a:pt x="1594609" y="16366"/>
                  </a:lnTo>
                  <a:close/>
                </a:path>
                <a:path w="1604009" h="320040">
                  <a:moveTo>
                    <a:pt x="1603946" y="307878"/>
                  </a:moveTo>
                  <a:lnTo>
                    <a:pt x="0" y="307878"/>
                  </a:lnTo>
                  <a:lnTo>
                    <a:pt x="0" y="319826"/>
                  </a:lnTo>
                  <a:lnTo>
                    <a:pt x="1603946" y="319827"/>
                  </a:lnTo>
                  <a:lnTo>
                    <a:pt x="1603946" y="307878"/>
                  </a:lnTo>
                  <a:close/>
                </a:path>
                <a:path w="1604009" h="320040">
                  <a:moveTo>
                    <a:pt x="1339381" y="5316"/>
                  </a:moveTo>
                  <a:lnTo>
                    <a:pt x="1281086" y="5316"/>
                  </a:lnTo>
                  <a:lnTo>
                    <a:pt x="1281087" y="264499"/>
                  </a:lnTo>
                  <a:lnTo>
                    <a:pt x="1339382" y="264499"/>
                  </a:lnTo>
                  <a:lnTo>
                    <a:pt x="1339381" y="5316"/>
                  </a:lnTo>
                  <a:close/>
                </a:path>
                <a:path w="1604009" h="320040">
                  <a:moveTo>
                    <a:pt x="1058123" y="195019"/>
                  </a:moveTo>
                  <a:lnTo>
                    <a:pt x="1058123" y="248324"/>
                  </a:lnTo>
                  <a:lnTo>
                    <a:pt x="1098019" y="263971"/>
                  </a:lnTo>
                  <a:lnTo>
                    <a:pt x="1147411" y="269278"/>
                  </a:lnTo>
                  <a:lnTo>
                    <a:pt x="1169168" y="267931"/>
                  </a:lnTo>
                  <a:lnTo>
                    <a:pt x="1218196" y="247589"/>
                  </a:lnTo>
                  <a:lnTo>
                    <a:pt x="1237123" y="222959"/>
                  </a:lnTo>
                  <a:lnTo>
                    <a:pt x="1139907" y="222959"/>
                  </a:lnTo>
                  <a:lnTo>
                    <a:pt x="1130508" y="222505"/>
                  </a:lnTo>
                  <a:lnTo>
                    <a:pt x="1087253" y="211279"/>
                  </a:lnTo>
                  <a:lnTo>
                    <a:pt x="1067054" y="201132"/>
                  </a:lnTo>
                  <a:lnTo>
                    <a:pt x="1058123" y="195019"/>
                  </a:lnTo>
                  <a:close/>
                </a:path>
                <a:path w="1604009" h="320040">
                  <a:moveTo>
                    <a:pt x="1149611" y="0"/>
                  </a:moveTo>
                  <a:lnTo>
                    <a:pt x="1099056" y="11007"/>
                  </a:lnTo>
                  <a:lnTo>
                    <a:pt x="1067719" y="42412"/>
                  </a:lnTo>
                  <a:lnTo>
                    <a:pt x="1061594" y="71686"/>
                  </a:lnTo>
                  <a:lnTo>
                    <a:pt x="1068930" y="101131"/>
                  </a:lnTo>
                  <a:lnTo>
                    <a:pt x="1088370" y="122983"/>
                  </a:lnTo>
                  <a:lnTo>
                    <a:pt x="1114410" y="139221"/>
                  </a:lnTo>
                  <a:lnTo>
                    <a:pt x="1141545" y="151826"/>
                  </a:lnTo>
                  <a:lnTo>
                    <a:pt x="1158389" y="160475"/>
                  </a:lnTo>
                  <a:lnTo>
                    <a:pt x="1172211" y="170436"/>
                  </a:lnTo>
                  <a:lnTo>
                    <a:pt x="1181564" y="181707"/>
                  </a:lnTo>
                  <a:lnTo>
                    <a:pt x="1185003" y="194284"/>
                  </a:lnTo>
                  <a:lnTo>
                    <a:pt x="1181693" y="206829"/>
                  </a:lnTo>
                  <a:lnTo>
                    <a:pt x="1172419" y="215790"/>
                  </a:lnTo>
                  <a:lnTo>
                    <a:pt x="1158162" y="221166"/>
                  </a:lnTo>
                  <a:lnTo>
                    <a:pt x="1139907" y="222959"/>
                  </a:lnTo>
                  <a:lnTo>
                    <a:pt x="1237123" y="222959"/>
                  </a:lnTo>
                  <a:lnTo>
                    <a:pt x="1241748" y="208785"/>
                  </a:lnTo>
                  <a:lnTo>
                    <a:pt x="1243299" y="192986"/>
                  </a:lnTo>
                  <a:lnTo>
                    <a:pt x="1240866" y="173623"/>
                  </a:lnTo>
                  <a:lnTo>
                    <a:pt x="1211230" y="131050"/>
                  </a:lnTo>
                  <a:lnTo>
                    <a:pt x="1139372" y="93540"/>
                  </a:lnTo>
                  <a:lnTo>
                    <a:pt x="1125286" y="83663"/>
                  </a:lnTo>
                  <a:lnTo>
                    <a:pt x="1119913" y="71319"/>
                  </a:lnTo>
                  <a:lnTo>
                    <a:pt x="1122795" y="60039"/>
                  </a:lnTo>
                  <a:lnTo>
                    <a:pt x="1130866" y="52065"/>
                  </a:lnTo>
                  <a:lnTo>
                    <a:pt x="1143269" y="47329"/>
                  </a:lnTo>
                  <a:lnTo>
                    <a:pt x="1159143" y="45765"/>
                  </a:lnTo>
                  <a:lnTo>
                    <a:pt x="1226800" y="45765"/>
                  </a:lnTo>
                  <a:lnTo>
                    <a:pt x="1226800" y="16365"/>
                  </a:lnTo>
                  <a:lnTo>
                    <a:pt x="1208603" y="9147"/>
                  </a:lnTo>
                  <a:lnTo>
                    <a:pt x="1189717" y="4039"/>
                  </a:lnTo>
                  <a:lnTo>
                    <a:pt x="1170075" y="1003"/>
                  </a:lnTo>
                  <a:lnTo>
                    <a:pt x="1149611" y="0"/>
                  </a:lnTo>
                  <a:close/>
                </a:path>
                <a:path w="1604009" h="320040">
                  <a:moveTo>
                    <a:pt x="1226800" y="45765"/>
                  </a:moveTo>
                  <a:lnTo>
                    <a:pt x="1159143" y="45765"/>
                  </a:lnTo>
                  <a:lnTo>
                    <a:pt x="1166958" y="46140"/>
                  </a:lnTo>
                  <a:lnTo>
                    <a:pt x="1175284" y="47254"/>
                  </a:lnTo>
                  <a:lnTo>
                    <a:pt x="1219637" y="62302"/>
                  </a:lnTo>
                  <a:lnTo>
                    <a:pt x="1226800" y="66541"/>
                  </a:lnTo>
                  <a:lnTo>
                    <a:pt x="1226800" y="45765"/>
                  </a:lnTo>
                  <a:close/>
                </a:path>
                <a:path w="1604009" h="320040">
                  <a:moveTo>
                    <a:pt x="927576" y="5683"/>
                  </a:moveTo>
                  <a:lnTo>
                    <a:pt x="823060" y="5683"/>
                  </a:lnTo>
                  <a:lnTo>
                    <a:pt x="823061" y="264498"/>
                  </a:lnTo>
                  <a:lnTo>
                    <a:pt x="881380" y="264498"/>
                  </a:lnTo>
                  <a:lnTo>
                    <a:pt x="881380" y="50175"/>
                  </a:lnTo>
                  <a:lnTo>
                    <a:pt x="1013443" y="50175"/>
                  </a:lnTo>
                  <a:lnTo>
                    <a:pt x="980763" y="18490"/>
                  </a:lnTo>
                  <a:lnTo>
                    <a:pt x="946863" y="7101"/>
                  </a:lnTo>
                  <a:lnTo>
                    <a:pt x="927576" y="5683"/>
                  </a:lnTo>
                  <a:close/>
                </a:path>
                <a:path w="1604009" h="320040">
                  <a:moveTo>
                    <a:pt x="1013443" y="50175"/>
                  </a:moveTo>
                  <a:lnTo>
                    <a:pt x="916577" y="50175"/>
                  </a:lnTo>
                  <a:lnTo>
                    <a:pt x="937076" y="53572"/>
                  </a:lnTo>
                  <a:lnTo>
                    <a:pt x="952672" y="63292"/>
                  </a:lnTo>
                  <a:lnTo>
                    <a:pt x="962594" y="78630"/>
                  </a:lnTo>
                  <a:lnTo>
                    <a:pt x="966073" y="98881"/>
                  </a:lnTo>
                  <a:lnTo>
                    <a:pt x="962314" y="117133"/>
                  </a:lnTo>
                  <a:lnTo>
                    <a:pt x="950977" y="132896"/>
                  </a:lnTo>
                  <a:lnTo>
                    <a:pt x="931972" y="144797"/>
                  </a:lnTo>
                  <a:lnTo>
                    <a:pt x="905211" y="151458"/>
                  </a:lnTo>
                  <a:lnTo>
                    <a:pt x="905211" y="156971"/>
                  </a:lnTo>
                  <a:lnTo>
                    <a:pt x="973406" y="264498"/>
                  </a:lnTo>
                  <a:lnTo>
                    <a:pt x="1039962" y="264498"/>
                  </a:lnTo>
                  <a:lnTo>
                    <a:pt x="971939" y="169098"/>
                  </a:lnTo>
                  <a:lnTo>
                    <a:pt x="994725" y="154201"/>
                  </a:lnTo>
                  <a:lnTo>
                    <a:pt x="1010870" y="134960"/>
                  </a:lnTo>
                  <a:lnTo>
                    <a:pt x="1020479" y="113170"/>
                  </a:lnTo>
                  <a:lnTo>
                    <a:pt x="1023659" y="90625"/>
                  </a:lnTo>
                  <a:lnTo>
                    <a:pt x="1021877" y="71918"/>
                  </a:lnTo>
                  <a:lnTo>
                    <a:pt x="1016552" y="55277"/>
                  </a:lnTo>
                  <a:lnTo>
                    <a:pt x="1013443" y="50175"/>
                  </a:lnTo>
                  <a:close/>
                </a:path>
                <a:path w="1604009" h="320040">
                  <a:moveTo>
                    <a:pt x="785468" y="5316"/>
                  </a:moveTo>
                  <a:lnTo>
                    <a:pt x="610387" y="5316"/>
                  </a:lnTo>
                  <a:lnTo>
                    <a:pt x="610387" y="264498"/>
                  </a:lnTo>
                  <a:lnTo>
                    <a:pt x="792801" y="264498"/>
                  </a:lnTo>
                  <a:lnTo>
                    <a:pt x="792801" y="219281"/>
                  </a:lnTo>
                  <a:lnTo>
                    <a:pt x="668682" y="219281"/>
                  </a:lnTo>
                  <a:lnTo>
                    <a:pt x="668682" y="151458"/>
                  </a:lnTo>
                  <a:lnTo>
                    <a:pt x="773198" y="151458"/>
                  </a:lnTo>
                  <a:lnTo>
                    <a:pt x="773198" y="107897"/>
                  </a:lnTo>
                  <a:lnTo>
                    <a:pt x="668682" y="107897"/>
                  </a:lnTo>
                  <a:lnTo>
                    <a:pt x="668682" y="50543"/>
                  </a:lnTo>
                  <a:lnTo>
                    <a:pt x="785468" y="50543"/>
                  </a:lnTo>
                  <a:lnTo>
                    <a:pt x="785468" y="5316"/>
                  </a:lnTo>
                  <a:close/>
                </a:path>
                <a:path w="1604009" h="320040">
                  <a:moveTo>
                    <a:pt x="497439" y="50175"/>
                  </a:moveTo>
                  <a:lnTo>
                    <a:pt x="438948" y="50175"/>
                  </a:lnTo>
                  <a:lnTo>
                    <a:pt x="438949" y="264498"/>
                  </a:lnTo>
                  <a:lnTo>
                    <a:pt x="497439" y="264498"/>
                  </a:lnTo>
                  <a:lnTo>
                    <a:pt x="497439" y="50175"/>
                  </a:lnTo>
                  <a:close/>
                </a:path>
                <a:path w="1604009" h="320040">
                  <a:moveTo>
                    <a:pt x="572599" y="4948"/>
                  </a:moveTo>
                  <a:lnTo>
                    <a:pt x="363397" y="4948"/>
                  </a:lnTo>
                  <a:lnTo>
                    <a:pt x="363397" y="50175"/>
                  </a:lnTo>
                  <a:lnTo>
                    <a:pt x="572599" y="50175"/>
                  </a:lnTo>
                  <a:lnTo>
                    <a:pt x="572599" y="4948"/>
                  </a:lnTo>
                  <a:close/>
                </a:path>
                <a:path w="1604009" h="320040">
                  <a:moveTo>
                    <a:pt x="222564" y="108632"/>
                  </a:moveTo>
                  <a:lnTo>
                    <a:pt x="154199" y="108632"/>
                  </a:lnTo>
                  <a:lnTo>
                    <a:pt x="317372" y="268911"/>
                  </a:lnTo>
                  <a:lnTo>
                    <a:pt x="325634" y="264498"/>
                  </a:lnTo>
                  <a:lnTo>
                    <a:pt x="325633" y="150159"/>
                  </a:lnTo>
                  <a:lnTo>
                    <a:pt x="267705" y="150159"/>
                  </a:lnTo>
                  <a:lnTo>
                    <a:pt x="222564" y="108632"/>
                  </a:lnTo>
                  <a:close/>
                </a:path>
                <a:path w="1604009" h="320040">
                  <a:moveTo>
                    <a:pt x="104877" y="367"/>
                  </a:moveTo>
                  <a:lnTo>
                    <a:pt x="96258" y="4948"/>
                  </a:lnTo>
                  <a:lnTo>
                    <a:pt x="96259" y="264498"/>
                  </a:lnTo>
                  <a:lnTo>
                    <a:pt x="154200" y="264498"/>
                  </a:lnTo>
                  <a:lnTo>
                    <a:pt x="154199" y="108632"/>
                  </a:lnTo>
                  <a:lnTo>
                    <a:pt x="222564" y="108632"/>
                  </a:lnTo>
                  <a:lnTo>
                    <a:pt x="104877" y="367"/>
                  </a:lnTo>
                  <a:close/>
                </a:path>
                <a:path w="1604009" h="320040">
                  <a:moveTo>
                    <a:pt x="325633" y="5316"/>
                  </a:moveTo>
                  <a:lnTo>
                    <a:pt x="267705" y="5316"/>
                  </a:lnTo>
                  <a:lnTo>
                    <a:pt x="267705" y="150159"/>
                  </a:lnTo>
                  <a:lnTo>
                    <a:pt x="325633" y="150159"/>
                  </a:lnTo>
                  <a:lnTo>
                    <a:pt x="325633" y="5316"/>
                  </a:lnTo>
                  <a:close/>
                </a:path>
                <a:path w="1604009" h="320040">
                  <a:moveTo>
                    <a:pt x="58488" y="4948"/>
                  </a:moveTo>
                  <a:lnTo>
                    <a:pt x="0" y="4948"/>
                  </a:lnTo>
                  <a:lnTo>
                    <a:pt x="0" y="264498"/>
                  </a:lnTo>
                  <a:lnTo>
                    <a:pt x="58488" y="264498"/>
                  </a:lnTo>
                  <a:lnTo>
                    <a:pt x="58488" y="4948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007352" y="803436"/>
              <a:ext cx="1603591" cy="87861"/>
            </a:xfrm>
            <a:prstGeom prst="rect">
              <a:avLst/>
            </a:prstGeom>
          </p:spPr>
        </p:pic>
      </p:grpSp>
      <p:sp>
        <p:nvSpPr>
          <p:cNvPr id="6" name="object 6"/>
          <p:cNvSpPr txBox="1"/>
          <p:nvPr/>
        </p:nvSpPr>
        <p:spPr>
          <a:xfrm>
            <a:off x="3476082" y="5522212"/>
            <a:ext cx="4662170" cy="8178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  <a:tabLst>
                <a:tab pos="1907539" algn="l"/>
                <a:tab pos="3076575" algn="l"/>
              </a:tabLst>
            </a:pPr>
            <a:r>
              <a:rPr sz="5200" b="1" spc="-10" dirty="0">
                <a:solidFill>
                  <a:srgbClr val="FF0004"/>
                </a:solidFill>
                <a:latin typeface="Ebrima"/>
                <a:cs typeface="Ebrima"/>
              </a:rPr>
              <a:t>Mak</a:t>
            </a:r>
            <a:r>
              <a:rPr sz="5200" b="1" spc="-5" dirty="0">
                <a:solidFill>
                  <a:srgbClr val="FF0004"/>
                </a:solidFill>
                <a:latin typeface="Ebrima"/>
                <a:cs typeface="Ebrima"/>
              </a:rPr>
              <a:t>e</a:t>
            </a:r>
            <a:r>
              <a:rPr sz="5200" b="1" dirty="0">
                <a:solidFill>
                  <a:srgbClr val="FF0004"/>
                </a:solidFill>
                <a:latin typeface="Ebrima"/>
                <a:cs typeface="Ebrima"/>
              </a:rPr>
              <a:t>	</a:t>
            </a:r>
            <a:r>
              <a:rPr sz="5200" b="1" spc="-10" dirty="0">
                <a:solidFill>
                  <a:srgbClr val="FF0004"/>
                </a:solidFill>
                <a:latin typeface="Ebrima"/>
                <a:cs typeface="Ebrima"/>
              </a:rPr>
              <a:t>li</a:t>
            </a:r>
            <a:r>
              <a:rPr sz="5200" b="1" dirty="0">
                <a:solidFill>
                  <a:srgbClr val="FF0004"/>
                </a:solidFill>
                <a:latin typeface="Ebrima"/>
                <a:cs typeface="Ebrima"/>
              </a:rPr>
              <a:t>f</a:t>
            </a:r>
            <a:r>
              <a:rPr sz="5200" b="1" spc="-5" dirty="0">
                <a:solidFill>
                  <a:srgbClr val="FF0004"/>
                </a:solidFill>
                <a:latin typeface="Ebrima"/>
                <a:cs typeface="Ebrima"/>
              </a:rPr>
              <a:t>e</a:t>
            </a:r>
            <a:r>
              <a:rPr sz="5200" b="1" dirty="0">
                <a:solidFill>
                  <a:srgbClr val="FF0004"/>
                </a:solidFill>
                <a:latin typeface="Ebrima"/>
                <a:cs typeface="Ebrima"/>
              </a:rPr>
              <a:t>	</a:t>
            </a:r>
            <a:r>
              <a:rPr sz="5200" b="1" spc="-10" dirty="0">
                <a:solidFill>
                  <a:srgbClr val="FF0004"/>
                </a:solidFill>
                <a:latin typeface="Ebrima"/>
                <a:cs typeface="Ebrima"/>
              </a:rPr>
              <a:t>e</a:t>
            </a:r>
            <a:r>
              <a:rPr sz="5200" b="1" spc="-25" dirty="0">
                <a:solidFill>
                  <a:srgbClr val="FF0004"/>
                </a:solidFill>
                <a:latin typeface="Ebrima"/>
                <a:cs typeface="Ebrima"/>
              </a:rPr>
              <a:t>a</a:t>
            </a:r>
            <a:r>
              <a:rPr sz="5200" b="1" spc="-5" dirty="0">
                <a:solidFill>
                  <a:srgbClr val="FF0004"/>
                </a:solidFill>
                <a:latin typeface="Ebrima"/>
                <a:cs typeface="Ebrima"/>
              </a:rPr>
              <a:t>sy!</a:t>
            </a:r>
            <a:endParaRPr sz="5200" dirty="0">
              <a:latin typeface="Ebrima"/>
              <a:cs typeface="Ebrima"/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0" y="0"/>
            <a:ext cx="12192163" cy="6858695"/>
            <a:chOff x="0" y="0"/>
            <a:chExt cx="12192163" cy="6858695"/>
          </a:xfrm>
        </p:grpSpPr>
        <p:sp>
          <p:nvSpPr>
            <p:cNvPr id="8" name="object 8"/>
            <p:cNvSpPr/>
            <p:nvPr/>
          </p:nvSpPr>
          <p:spPr>
            <a:xfrm>
              <a:off x="9113048" y="34"/>
              <a:ext cx="3079115" cy="6849745"/>
            </a:xfrm>
            <a:custGeom>
              <a:avLst/>
              <a:gdLst/>
              <a:ahLst/>
              <a:cxnLst/>
              <a:rect l="l" t="t" r="r" b="b"/>
              <a:pathLst>
                <a:path w="3079114" h="6849745">
                  <a:moveTo>
                    <a:pt x="3078918" y="0"/>
                  </a:moveTo>
                  <a:lnTo>
                    <a:pt x="0" y="0"/>
                  </a:lnTo>
                  <a:lnTo>
                    <a:pt x="47281" y="44751"/>
                  </a:lnTo>
                  <a:lnTo>
                    <a:pt x="94919" y="90836"/>
                  </a:lnTo>
                  <a:lnTo>
                    <a:pt x="141865" y="137253"/>
                  </a:lnTo>
                  <a:lnTo>
                    <a:pt x="188125" y="183993"/>
                  </a:lnTo>
                  <a:lnTo>
                    <a:pt x="233704" y="231049"/>
                  </a:lnTo>
                  <a:lnTo>
                    <a:pt x="278606" y="278414"/>
                  </a:lnTo>
                  <a:lnTo>
                    <a:pt x="322836" y="326081"/>
                  </a:lnTo>
                  <a:lnTo>
                    <a:pt x="366399" y="374043"/>
                  </a:lnTo>
                  <a:lnTo>
                    <a:pt x="409300" y="422293"/>
                  </a:lnTo>
                  <a:lnTo>
                    <a:pt x="451544" y="470822"/>
                  </a:lnTo>
                  <a:lnTo>
                    <a:pt x="493135" y="519626"/>
                  </a:lnTo>
                  <a:lnTo>
                    <a:pt x="534080" y="568695"/>
                  </a:lnTo>
                  <a:lnTo>
                    <a:pt x="574381" y="618023"/>
                  </a:lnTo>
                  <a:lnTo>
                    <a:pt x="614045" y="667602"/>
                  </a:lnTo>
                  <a:lnTo>
                    <a:pt x="653077" y="717426"/>
                  </a:lnTo>
                  <a:lnTo>
                    <a:pt x="691480" y="767488"/>
                  </a:lnTo>
                  <a:lnTo>
                    <a:pt x="729260" y="817779"/>
                  </a:lnTo>
                  <a:lnTo>
                    <a:pt x="766422" y="868293"/>
                  </a:lnTo>
                  <a:lnTo>
                    <a:pt x="802971" y="919023"/>
                  </a:lnTo>
                  <a:lnTo>
                    <a:pt x="838912" y="969962"/>
                  </a:lnTo>
                  <a:lnTo>
                    <a:pt x="874248" y="1021102"/>
                  </a:lnTo>
                  <a:lnTo>
                    <a:pt x="908987" y="1072436"/>
                  </a:lnTo>
                  <a:lnTo>
                    <a:pt x="943131" y="1123957"/>
                  </a:lnTo>
                  <a:lnTo>
                    <a:pt x="976686" y="1175658"/>
                  </a:lnTo>
                  <a:lnTo>
                    <a:pt x="1009658" y="1227531"/>
                  </a:lnTo>
                  <a:lnTo>
                    <a:pt x="1042050" y="1279570"/>
                  </a:lnTo>
                  <a:lnTo>
                    <a:pt x="1073868" y="1331767"/>
                  </a:lnTo>
                  <a:lnTo>
                    <a:pt x="1105116" y="1384115"/>
                  </a:lnTo>
                  <a:lnTo>
                    <a:pt x="1135800" y="1436607"/>
                  </a:lnTo>
                  <a:lnTo>
                    <a:pt x="1165925" y="1489235"/>
                  </a:lnTo>
                  <a:lnTo>
                    <a:pt x="1195494" y="1541994"/>
                  </a:lnTo>
                  <a:lnTo>
                    <a:pt x="1224514" y="1594874"/>
                  </a:lnTo>
                  <a:lnTo>
                    <a:pt x="1252988" y="1647869"/>
                  </a:lnTo>
                  <a:lnTo>
                    <a:pt x="1280923" y="1700973"/>
                  </a:lnTo>
                  <a:lnTo>
                    <a:pt x="1308322" y="1754177"/>
                  </a:lnTo>
                  <a:lnTo>
                    <a:pt x="1335190" y="1807475"/>
                  </a:lnTo>
                  <a:lnTo>
                    <a:pt x="1361533" y="1860859"/>
                  </a:lnTo>
                  <a:lnTo>
                    <a:pt x="1387356" y="1914322"/>
                  </a:lnTo>
                  <a:lnTo>
                    <a:pt x="1412662" y="1967857"/>
                  </a:lnTo>
                  <a:lnTo>
                    <a:pt x="1437458" y="2021457"/>
                  </a:lnTo>
                  <a:lnTo>
                    <a:pt x="1461748" y="2075115"/>
                  </a:lnTo>
                  <a:lnTo>
                    <a:pt x="1485536" y="2128823"/>
                  </a:lnTo>
                  <a:lnTo>
                    <a:pt x="1508828" y="2182574"/>
                  </a:lnTo>
                  <a:lnTo>
                    <a:pt x="1531629" y="2236362"/>
                  </a:lnTo>
                  <a:lnTo>
                    <a:pt x="1553943" y="2290178"/>
                  </a:lnTo>
                  <a:lnTo>
                    <a:pt x="1575776" y="2344016"/>
                  </a:lnTo>
                  <a:lnTo>
                    <a:pt x="1597132" y="2397869"/>
                  </a:lnTo>
                  <a:lnTo>
                    <a:pt x="1618015" y="2451729"/>
                  </a:lnTo>
                  <a:lnTo>
                    <a:pt x="1638432" y="2505589"/>
                  </a:lnTo>
                  <a:lnTo>
                    <a:pt x="1658387" y="2559442"/>
                  </a:lnTo>
                  <a:lnTo>
                    <a:pt x="1677884" y="2613280"/>
                  </a:lnTo>
                  <a:lnTo>
                    <a:pt x="1696929" y="2667098"/>
                  </a:lnTo>
                  <a:lnTo>
                    <a:pt x="1715526" y="2720886"/>
                  </a:lnTo>
                  <a:lnTo>
                    <a:pt x="1733681" y="2774639"/>
                  </a:lnTo>
                  <a:lnTo>
                    <a:pt x="1751397" y="2828349"/>
                  </a:lnTo>
                  <a:lnTo>
                    <a:pt x="1768681" y="2882009"/>
                  </a:lnTo>
                  <a:lnTo>
                    <a:pt x="1785537" y="2935611"/>
                  </a:lnTo>
                  <a:lnTo>
                    <a:pt x="1801970" y="2989149"/>
                  </a:lnTo>
                  <a:lnTo>
                    <a:pt x="1817984" y="3042615"/>
                  </a:lnTo>
                  <a:lnTo>
                    <a:pt x="1833585" y="3096002"/>
                  </a:lnTo>
                  <a:lnTo>
                    <a:pt x="1848777" y="3149303"/>
                  </a:lnTo>
                  <a:lnTo>
                    <a:pt x="1863566" y="3202511"/>
                  </a:lnTo>
                  <a:lnTo>
                    <a:pt x="1877956" y="3255619"/>
                  </a:lnTo>
                  <a:lnTo>
                    <a:pt x="1891952" y="3308618"/>
                  </a:lnTo>
                  <a:lnTo>
                    <a:pt x="1905559" y="3361503"/>
                  </a:lnTo>
                  <a:lnTo>
                    <a:pt x="1918782" y="3414266"/>
                  </a:lnTo>
                  <a:lnTo>
                    <a:pt x="1931625" y="3466900"/>
                  </a:lnTo>
                  <a:lnTo>
                    <a:pt x="1944094" y="3519397"/>
                  </a:lnTo>
                  <a:lnTo>
                    <a:pt x="1956193" y="3571751"/>
                  </a:lnTo>
                  <a:lnTo>
                    <a:pt x="1967928" y="3623954"/>
                  </a:lnTo>
                  <a:lnTo>
                    <a:pt x="1979303" y="3675999"/>
                  </a:lnTo>
                  <a:lnTo>
                    <a:pt x="1990323" y="3727878"/>
                  </a:lnTo>
                  <a:lnTo>
                    <a:pt x="2000993" y="3779586"/>
                  </a:lnTo>
                  <a:lnTo>
                    <a:pt x="2011318" y="3831114"/>
                  </a:lnTo>
                  <a:lnTo>
                    <a:pt x="2021302" y="3882455"/>
                  </a:lnTo>
                  <a:lnTo>
                    <a:pt x="2030951" y="3933602"/>
                  </a:lnTo>
                  <a:lnTo>
                    <a:pt x="2040270" y="3984549"/>
                  </a:lnTo>
                  <a:lnTo>
                    <a:pt x="2049263" y="4035287"/>
                  </a:lnTo>
                  <a:lnTo>
                    <a:pt x="2057935" y="4085810"/>
                  </a:lnTo>
                  <a:lnTo>
                    <a:pt x="2066291" y="4136110"/>
                  </a:lnTo>
                  <a:lnTo>
                    <a:pt x="2074336" y="4186180"/>
                  </a:lnTo>
                  <a:lnTo>
                    <a:pt x="2082075" y="4236013"/>
                  </a:lnTo>
                  <a:lnTo>
                    <a:pt x="2089512" y="4285602"/>
                  </a:lnTo>
                  <a:lnTo>
                    <a:pt x="2096653" y="4334940"/>
                  </a:lnTo>
                  <a:lnTo>
                    <a:pt x="2103503" y="4384019"/>
                  </a:lnTo>
                  <a:lnTo>
                    <a:pt x="2110066" y="4432832"/>
                  </a:lnTo>
                  <a:lnTo>
                    <a:pt x="2116347" y="4481372"/>
                  </a:lnTo>
                  <a:lnTo>
                    <a:pt x="2122351" y="4529633"/>
                  </a:lnTo>
                  <a:lnTo>
                    <a:pt x="2128083" y="4577606"/>
                  </a:lnTo>
                  <a:lnTo>
                    <a:pt x="2133548" y="4625284"/>
                  </a:lnTo>
                  <a:lnTo>
                    <a:pt x="2138750" y="4672661"/>
                  </a:lnTo>
                  <a:lnTo>
                    <a:pt x="2143695" y="4719729"/>
                  </a:lnTo>
                  <a:lnTo>
                    <a:pt x="2148388" y="4766481"/>
                  </a:lnTo>
                  <a:lnTo>
                    <a:pt x="2152833" y="4812910"/>
                  </a:lnTo>
                  <a:lnTo>
                    <a:pt x="2157035" y="4859008"/>
                  </a:lnTo>
                  <a:lnTo>
                    <a:pt x="2160999" y="4904769"/>
                  </a:lnTo>
                  <a:lnTo>
                    <a:pt x="2164730" y="4950185"/>
                  </a:lnTo>
                  <a:lnTo>
                    <a:pt x="2168233" y="4995249"/>
                  </a:lnTo>
                  <a:lnTo>
                    <a:pt x="2171513" y="5039954"/>
                  </a:lnTo>
                  <a:lnTo>
                    <a:pt x="2174574" y="5084292"/>
                  </a:lnTo>
                  <a:lnTo>
                    <a:pt x="2177421" y="5128257"/>
                  </a:lnTo>
                  <a:lnTo>
                    <a:pt x="2180060" y="5171841"/>
                  </a:lnTo>
                  <a:lnTo>
                    <a:pt x="2182495" y="5215037"/>
                  </a:lnTo>
                  <a:lnTo>
                    <a:pt x="2184732" y="5257839"/>
                  </a:lnTo>
                  <a:lnTo>
                    <a:pt x="2186774" y="5300238"/>
                  </a:lnTo>
                  <a:lnTo>
                    <a:pt x="2188627" y="5342227"/>
                  </a:lnTo>
                  <a:lnTo>
                    <a:pt x="2190295" y="5383800"/>
                  </a:lnTo>
                  <a:lnTo>
                    <a:pt x="2191784" y="5424949"/>
                  </a:lnTo>
                  <a:lnTo>
                    <a:pt x="2193099" y="5465667"/>
                  </a:lnTo>
                  <a:lnTo>
                    <a:pt x="2194244" y="5505947"/>
                  </a:lnTo>
                  <a:lnTo>
                    <a:pt x="2195296" y="5549243"/>
                  </a:lnTo>
                  <a:lnTo>
                    <a:pt x="2196709" y="5624085"/>
                  </a:lnTo>
                  <a:lnTo>
                    <a:pt x="2197224" y="5662540"/>
                  </a:lnTo>
                  <a:lnTo>
                    <a:pt x="2197801" y="5734543"/>
                  </a:lnTo>
                  <a:lnTo>
                    <a:pt x="2197842" y="5819854"/>
                  </a:lnTo>
                  <a:lnTo>
                    <a:pt x="2197716" y="5847560"/>
                  </a:lnTo>
                  <a:lnTo>
                    <a:pt x="2197033" y="5918048"/>
                  </a:lnTo>
                  <a:lnTo>
                    <a:pt x="2195840" y="5989387"/>
                  </a:lnTo>
                  <a:lnTo>
                    <a:pt x="2194370" y="6052673"/>
                  </a:lnTo>
                  <a:lnTo>
                    <a:pt x="2192469" y="6116695"/>
                  </a:lnTo>
                  <a:lnTo>
                    <a:pt x="2190240" y="6178447"/>
                  </a:lnTo>
                  <a:lnTo>
                    <a:pt x="2187722" y="6237871"/>
                  </a:lnTo>
                  <a:lnTo>
                    <a:pt x="2184955" y="6294910"/>
                  </a:lnTo>
                  <a:lnTo>
                    <a:pt x="2181977" y="6349507"/>
                  </a:lnTo>
                  <a:lnTo>
                    <a:pt x="2178827" y="6401603"/>
                  </a:lnTo>
                  <a:lnTo>
                    <a:pt x="2175544" y="6451142"/>
                  </a:lnTo>
                  <a:lnTo>
                    <a:pt x="2172168" y="6498065"/>
                  </a:lnTo>
                  <a:lnTo>
                    <a:pt x="2168736" y="6542316"/>
                  </a:lnTo>
                  <a:lnTo>
                    <a:pt x="2165289" y="6583837"/>
                  </a:lnTo>
                  <a:lnTo>
                    <a:pt x="2161866" y="6622570"/>
                  </a:lnTo>
                  <a:lnTo>
                    <a:pt x="2156859" y="6675318"/>
                  </a:lnTo>
                  <a:lnTo>
                    <a:pt x="2152123" y="6721470"/>
                  </a:lnTo>
                  <a:lnTo>
                    <a:pt x="2144726" y="6785537"/>
                  </a:lnTo>
                  <a:lnTo>
                    <a:pt x="2138404" y="6834804"/>
                  </a:lnTo>
                  <a:lnTo>
                    <a:pt x="2136752" y="6846637"/>
                  </a:lnTo>
                  <a:lnTo>
                    <a:pt x="2136752" y="6848630"/>
                  </a:lnTo>
                  <a:lnTo>
                    <a:pt x="2136220" y="6849129"/>
                  </a:lnTo>
                  <a:lnTo>
                    <a:pt x="2136752" y="6849129"/>
                  </a:lnTo>
                  <a:lnTo>
                    <a:pt x="2137217" y="6848630"/>
                  </a:lnTo>
                  <a:lnTo>
                    <a:pt x="2137749" y="6848133"/>
                  </a:lnTo>
                  <a:lnTo>
                    <a:pt x="2173651" y="6808687"/>
                  </a:lnTo>
                  <a:lnTo>
                    <a:pt x="2209109" y="6769076"/>
                  </a:lnTo>
                  <a:lnTo>
                    <a:pt x="2244124" y="6729303"/>
                  </a:lnTo>
                  <a:lnTo>
                    <a:pt x="2278699" y="6689373"/>
                  </a:lnTo>
                  <a:lnTo>
                    <a:pt x="2312836" y="6649287"/>
                  </a:lnTo>
                  <a:lnTo>
                    <a:pt x="2346537" y="6609049"/>
                  </a:lnTo>
                  <a:lnTo>
                    <a:pt x="2379806" y="6568662"/>
                  </a:lnTo>
                  <a:lnTo>
                    <a:pt x="2412645" y="6528129"/>
                  </a:lnTo>
                  <a:lnTo>
                    <a:pt x="2445055" y="6487454"/>
                  </a:lnTo>
                  <a:lnTo>
                    <a:pt x="2477040" y="6446639"/>
                  </a:lnTo>
                  <a:lnTo>
                    <a:pt x="2508602" y="6405688"/>
                  </a:lnTo>
                  <a:lnTo>
                    <a:pt x="2539744" y="6364604"/>
                  </a:lnTo>
                  <a:lnTo>
                    <a:pt x="2570467" y="6323391"/>
                  </a:lnTo>
                  <a:lnTo>
                    <a:pt x="2600775" y="6282050"/>
                  </a:lnTo>
                  <a:lnTo>
                    <a:pt x="2630669" y="6240586"/>
                  </a:lnTo>
                  <a:lnTo>
                    <a:pt x="2660153" y="6199002"/>
                  </a:lnTo>
                  <a:lnTo>
                    <a:pt x="2689228" y="6157301"/>
                  </a:lnTo>
                  <a:lnTo>
                    <a:pt x="2717898" y="6115486"/>
                  </a:lnTo>
                  <a:lnTo>
                    <a:pt x="2746164" y="6073559"/>
                  </a:lnTo>
                  <a:lnTo>
                    <a:pt x="2774029" y="6031526"/>
                  </a:lnTo>
                  <a:lnTo>
                    <a:pt x="2801496" y="5989387"/>
                  </a:lnTo>
                  <a:lnTo>
                    <a:pt x="2828566" y="5947148"/>
                  </a:lnTo>
                  <a:lnTo>
                    <a:pt x="2855243" y="5904810"/>
                  </a:lnTo>
                  <a:lnTo>
                    <a:pt x="2881529" y="5862378"/>
                  </a:lnTo>
                  <a:lnTo>
                    <a:pt x="2907426" y="5819854"/>
                  </a:lnTo>
                  <a:lnTo>
                    <a:pt x="2932937" y="5777241"/>
                  </a:lnTo>
                  <a:lnTo>
                    <a:pt x="2958064" y="5734543"/>
                  </a:lnTo>
                  <a:lnTo>
                    <a:pt x="2993639" y="5672929"/>
                  </a:lnTo>
                  <a:lnTo>
                    <a:pt x="3028437" y="5611159"/>
                  </a:lnTo>
                  <a:lnTo>
                    <a:pt x="3062467" y="5549243"/>
                  </a:lnTo>
                  <a:lnTo>
                    <a:pt x="3078918" y="5518560"/>
                  </a:lnTo>
                  <a:lnTo>
                    <a:pt x="3078918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9826082" y="4477445"/>
              <a:ext cx="1391285" cy="2381250"/>
            </a:xfrm>
            <a:custGeom>
              <a:avLst/>
              <a:gdLst/>
              <a:ahLst/>
              <a:cxnLst/>
              <a:rect l="l" t="t" r="r" b="b"/>
              <a:pathLst>
                <a:path w="1391284" h="2381250">
                  <a:moveTo>
                    <a:pt x="1306055" y="0"/>
                  </a:moveTo>
                  <a:lnTo>
                    <a:pt x="1285915" y="57692"/>
                  </a:lnTo>
                  <a:lnTo>
                    <a:pt x="1272754" y="93649"/>
                  </a:lnTo>
                  <a:lnTo>
                    <a:pt x="1256218" y="137638"/>
                  </a:lnTo>
                  <a:lnTo>
                    <a:pt x="1236265" y="189317"/>
                  </a:lnTo>
                  <a:lnTo>
                    <a:pt x="1212848" y="248346"/>
                  </a:lnTo>
                  <a:lnTo>
                    <a:pt x="1185923" y="314385"/>
                  </a:lnTo>
                  <a:lnTo>
                    <a:pt x="1171131" y="349926"/>
                  </a:lnTo>
                  <a:lnTo>
                    <a:pt x="1155445" y="387092"/>
                  </a:lnTo>
                  <a:lnTo>
                    <a:pt x="1138860" y="425840"/>
                  </a:lnTo>
                  <a:lnTo>
                    <a:pt x="1121371" y="466128"/>
                  </a:lnTo>
                  <a:lnTo>
                    <a:pt x="1102970" y="507912"/>
                  </a:lnTo>
                  <a:lnTo>
                    <a:pt x="1083654" y="551151"/>
                  </a:lnTo>
                  <a:lnTo>
                    <a:pt x="1063416" y="595802"/>
                  </a:lnTo>
                  <a:lnTo>
                    <a:pt x="1042251" y="641822"/>
                  </a:lnTo>
                  <a:lnTo>
                    <a:pt x="1020153" y="689168"/>
                  </a:lnTo>
                  <a:lnTo>
                    <a:pt x="997116" y="737799"/>
                  </a:lnTo>
                  <a:lnTo>
                    <a:pt x="973135" y="787671"/>
                  </a:lnTo>
                  <a:lnTo>
                    <a:pt x="948205" y="838742"/>
                  </a:lnTo>
                  <a:lnTo>
                    <a:pt x="922320" y="890970"/>
                  </a:lnTo>
                  <a:lnTo>
                    <a:pt x="895474" y="944312"/>
                  </a:lnTo>
                  <a:lnTo>
                    <a:pt x="867662" y="998724"/>
                  </a:lnTo>
                  <a:lnTo>
                    <a:pt x="838877" y="1054166"/>
                  </a:lnTo>
                  <a:lnTo>
                    <a:pt x="809115" y="1110594"/>
                  </a:lnTo>
                  <a:lnTo>
                    <a:pt x="778370" y="1167965"/>
                  </a:lnTo>
                  <a:lnTo>
                    <a:pt x="746637" y="1226237"/>
                  </a:lnTo>
                  <a:lnTo>
                    <a:pt x="713909" y="1285368"/>
                  </a:lnTo>
                  <a:lnTo>
                    <a:pt x="680181" y="1345314"/>
                  </a:lnTo>
                  <a:lnTo>
                    <a:pt x="645448" y="1406034"/>
                  </a:lnTo>
                  <a:lnTo>
                    <a:pt x="609704" y="1467485"/>
                  </a:lnTo>
                  <a:lnTo>
                    <a:pt x="572943" y="1529624"/>
                  </a:lnTo>
                  <a:lnTo>
                    <a:pt x="535160" y="1592408"/>
                  </a:lnTo>
                  <a:lnTo>
                    <a:pt x="496349" y="1655796"/>
                  </a:lnTo>
                  <a:lnTo>
                    <a:pt x="456505" y="1719744"/>
                  </a:lnTo>
                  <a:lnTo>
                    <a:pt x="415622" y="1784210"/>
                  </a:lnTo>
                  <a:lnTo>
                    <a:pt x="373694" y="1849151"/>
                  </a:lnTo>
                  <a:lnTo>
                    <a:pt x="330716" y="1914525"/>
                  </a:lnTo>
                  <a:lnTo>
                    <a:pt x="286683" y="1980289"/>
                  </a:lnTo>
                  <a:lnTo>
                    <a:pt x="241588" y="2046401"/>
                  </a:lnTo>
                  <a:lnTo>
                    <a:pt x="195427" y="2112818"/>
                  </a:lnTo>
                  <a:lnTo>
                    <a:pt x="148192" y="2179498"/>
                  </a:lnTo>
                  <a:lnTo>
                    <a:pt x="99880" y="2246397"/>
                  </a:lnTo>
                  <a:lnTo>
                    <a:pt x="50485" y="2313474"/>
                  </a:lnTo>
                  <a:lnTo>
                    <a:pt x="0" y="2380686"/>
                  </a:lnTo>
                  <a:lnTo>
                    <a:pt x="1335438" y="2380686"/>
                  </a:lnTo>
                  <a:lnTo>
                    <a:pt x="1357068" y="2199984"/>
                  </a:lnTo>
                  <a:lnTo>
                    <a:pt x="1390671" y="1700425"/>
                  </a:lnTo>
                  <a:lnTo>
                    <a:pt x="1389311" y="945825"/>
                  </a:lnTo>
                  <a:lnTo>
                    <a:pt x="1306055" y="0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0" y="8835"/>
              <a:ext cx="3203575" cy="6845300"/>
            </a:xfrm>
            <a:custGeom>
              <a:avLst/>
              <a:gdLst/>
              <a:ahLst/>
              <a:cxnLst/>
              <a:rect l="l" t="t" r="r" b="b"/>
              <a:pathLst>
                <a:path w="3203575" h="6845300">
                  <a:moveTo>
                    <a:pt x="0" y="1625599"/>
                  </a:moveTo>
                  <a:lnTo>
                    <a:pt x="0" y="1574799"/>
                  </a:lnTo>
                  <a:lnTo>
                    <a:pt x="13560" y="1536699"/>
                  </a:lnTo>
                  <a:lnTo>
                    <a:pt x="44579" y="1485899"/>
                  </a:lnTo>
                  <a:lnTo>
                    <a:pt x="76334" y="1422399"/>
                  </a:lnTo>
                  <a:lnTo>
                    <a:pt x="108833" y="1358899"/>
                  </a:lnTo>
                  <a:lnTo>
                    <a:pt x="142085" y="1295399"/>
                  </a:lnTo>
                  <a:lnTo>
                    <a:pt x="176098" y="1231899"/>
                  </a:lnTo>
                  <a:lnTo>
                    <a:pt x="210878" y="1168399"/>
                  </a:lnTo>
                  <a:lnTo>
                    <a:pt x="246434" y="1104899"/>
                  </a:lnTo>
                  <a:lnTo>
                    <a:pt x="271604" y="1066799"/>
                  </a:lnTo>
                  <a:lnTo>
                    <a:pt x="297151" y="1028699"/>
                  </a:lnTo>
                  <a:lnTo>
                    <a:pt x="323077" y="977899"/>
                  </a:lnTo>
                  <a:lnTo>
                    <a:pt x="349385" y="939799"/>
                  </a:lnTo>
                  <a:lnTo>
                    <a:pt x="376079" y="901699"/>
                  </a:lnTo>
                  <a:lnTo>
                    <a:pt x="403160" y="850899"/>
                  </a:lnTo>
                  <a:lnTo>
                    <a:pt x="430632" y="812799"/>
                  </a:lnTo>
                  <a:lnTo>
                    <a:pt x="458498" y="774699"/>
                  </a:lnTo>
                  <a:lnTo>
                    <a:pt x="486760" y="723899"/>
                  </a:lnTo>
                  <a:lnTo>
                    <a:pt x="515422" y="685799"/>
                  </a:lnTo>
                  <a:lnTo>
                    <a:pt x="544486" y="647699"/>
                  </a:lnTo>
                  <a:lnTo>
                    <a:pt x="573956" y="596899"/>
                  </a:lnTo>
                  <a:lnTo>
                    <a:pt x="603833" y="558799"/>
                  </a:lnTo>
                  <a:lnTo>
                    <a:pt x="634122" y="520699"/>
                  </a:lnTo>
                  <a:lnTo>
                    <a:pt x="664824" y="482599"/>
                  </a:lnTo>
                  <a:lnTo>
                    <a:pt x="695943" y="431799"/>
                  </a:lnTo>
                  <a:lnTo>
                    <a:pt x="727482" y="393699"/>
                  </a:lnTo>
                  <a:lnTo>
                    <a:pt x="759443" y="355599"/>
                  </a:lnTo>
                  <a:lnTo>
                    <a:pt x="791830" y="317499"/>
                  </a:lnTo>
                  <a:lnTo>
                    <a:pt x="824645" y="279399"/>
                  </a:lnTo>
                  <a:lnTo>
                    <a:pt x="857891" y="228599"/>
                  </a:lnTo>
                  <a:lnTo>
                    <a:pt x="891571" y="190499"/>
                  </a:lnTo>
                  <a:lnTo>
                    <a:pt x="925688" y="152399"/>
                  </a:lnTo>
                  <a:lnTo>
                    <a:pt x="960244" y="114299"/>
                  </a:lnTo>
                  <a:lnTo>
                    <a:pt x="995244" y="76199"/>
                  </a:lnTo>
                  <a:lnTo>
                    <a:pt x="1030688" y="38099"/>
                  </a:lnTo>
                  <a:lnTo>
                    <a:pt x="1067047" y="0"/>
                  </a:lnTo>
                  <a:lnTo>
                    <a:pt x="1067579" y="0"/>
                  </a:lnTo>
                  <a:lnTo>
                    <a:pt x="1065906" y="12699"/>
                  </a:lnTo>
                  <a:lnTo>
                    <a:pt x="1063267" y="25399"/>
                  </a:lnTo>
                  <a:lnTo>
                    <a:pt x="1059793" y="63499"/>
                  </a:lnTo>
                  <a:lnTo>
                    <a:pt x="1057704" y="76199"/>
                  </a:lnTo>
                  <a:lnTo>
                    <a:pt x="1030692" y="76199"/>
                  </a:lnTo>
                  <a:lnTo>
                    <a:pt x="1030646" y="76792"/>
                  </a:lnTo>
                  <a:lnTo>
                    <a:pt x="965649" y="152399"/>
                  </a:lnTo>
                  <a:lnTo>
                    <a:pt x="933300" y="190499"/>
                  </a:lnTo>
                  <a:lnTo>
                    <a:pt x="901224" y="228599"/>
                  </a:lnTo>
                  <a:lnTo>
                    <a:pt x="869422" y="266699"/>
                  </a:lnTo>
                  <a:lnTo>
                    <a:pt x="837899" y="304799"/>
                  </a:lnTo>
                  <a:lnTo>
                    <a:pt x="806655" y="342899"/>
                  </a:lnTo>
                  <a:lnTo>
                    <a:pt x="775694" y="380999"/>
                  </a:lnTo>
                  <a:lnTo>
                    <a:pt x="745017" y="419099"/>
                  </a:lnTo>
                  <a:lnTo>
                    <a:pt x="714628" y="457199"/>
                  </a:lnTo>
                  <a:lnTo>
                    <a:pt x="684527" y="495299"/>
                  </a:lnTo>
                  <a:lnTo>
                    <a:pt x="654719" y="533399"/>
                  </a:lnTo>
                  <a:lnTo>
                    <a:pt x="625205" y="571499"/>
                  </a:lnTo>
                  <a:lnTo>
                    <a:pt x="595987" y="622299"/>
                  </a:lnTo>
                  <a:lnTo>
                    <a:pt x="567069" y="660399"/>
                  </a:lnTo>
                  <a:lnTo>
                    <a:pt x="538451" y="698499"/>
                  </a:lnTo>
                  <a:lnTo>
                    <a:pt x="510137" y="736599"/>
                  </a:lnTo>
                  <a:lnTo>
                    <a:pt x="482129" y="787399"/>
                  </a:lnTo>
                  <a:lnTo>
                    <a:pt x="454429" y="825499"/>
                  </a:lnTo>
                  <a:lnTo>
                    <a:pt x="427040" y="863599"/>
                  </a:lnTo>
                  <a:lnTo>
                    <a:pt x="399965" y="901699"/>
                  </a:lnTo>
                  <a:lnTo>
                    <a:pt x="373204" y="952499"/>
                  </a:lnTo>
                  <a:lnTo>
                    <a:pt x="346761" y="990599"/>
                  </a:lnTo>
                  <a:lnTo>
                    <a:pt x="320639" y="1041399"/>
                  </a:lnTo>
                  <a:lnTo>
                    <a:pt x="294838" y="1079499"/>
                  </a:lnTo>
                  <a:lnTo>
                    <a:pt x="269363" y="1117599"/>
                  </a:lnTo>
                  <a:lnTo>
                    <a:pt x="234353" y="1181099"/>
                  </a:lnTo>
                  <a:lnTo>
                    <a:pt x="200097" y="1244599"/>
                  </a:lnTo>
                  <a:lnTo>
                    <a:pt x="166589" y="1308099"/>
                  </a:lnTo>
                  <a:lnTo>
                    <a:pt x="133820" y="1358899"/>
                  </a:lnTo>
                  <a:lnTo>
                    <a:pt x="101783" y="1422399"/>
                  </a:lnTo>
                  <a:lnTo>
                    <a:pt x="70470" y="1485899"/>
                  </a:lnTo>
                  <a:lnTo>
                    <a:pt x="39875" y="1549399"/>
                  </a:lnTo>
                  <a:lnTo>
                    <a:pt x="9989" y="1612899"/>
                  </a:lnTo>
                  <a:lnTo>
                    <a:pt x="0" y="1625599"/>
                  </a:lnTo>
                  <a:close/>
                </a:path>
                <a:path w="3203575" h="6845300">
                  <a:moveTo>
                    <a:pt x="1030646" y="76792"/>
                  </a:moveTo>
                  <a:lnTo>
                    <a:pt x="1030692" y="76199"/>
                  </a:lnTo>
                  <a:lnTo>
                    <a:pt x="1031157" y="76199"/>
                  </a:lnTo>
                  <a:lnTo>
                    <a:pt x="1030646" y="76792"/>
                  </a:lnTo>
                  <a:close/>
                </a:path>
                <a:path w="3203575" h="6845300">
                  <a:moveTo>
                    <a:pt x="3203469" y="6845300"/>
                  </a:moveTo>
                  <a:lnTo>
                    <a:pt x="0" y="6845299"/>
                  </a:lnTo>
                  <a:lnTo>
                    <a:pt x="0" y="6819899"/>
                  </a:lnTo>
                  <a:lnTo>
                    <a:pt x="3138602" y="6819900"/>
                  </a:lnTo>
                  <a:lnTo>
                    <a:pt x="3067800" y="6743700"/>
                  </a:lnTo>
                  <a:lnTo>
                    <a:pt x="3032809" y="6718300"/>
                  </a:lnTo>
                  <a:lnTo>
                    <a:pt x="2963650" y="6642100"/>
                  </a:lnTo>
                  <a:lnTo>
                    <a:pt x="2895593" y="6565900"/>
                  </a:lnTo>
                  <a:lnTo>
                    <a:pt x="2861979" y="6540500"/>
                  </a:lnTo>
                  <a:lnTo>
                    <a:pt x="2795584" y="6464300"/>
                  </a:lnTo>
                  <a:lnTo>
                    <a:pt x="2730304" y="6388100"/>
                  </a:lnTo>
                  <a:lnTo>
                    <a:pt x="2698083" y="6350000"/>
                  </a:lnTo>
                  <a:lnTo>
                    <a:pt x="2666144" y="6311900"/>
                  </a:lnTo>
                  <a:lnTo>
                    <a:pt x="2634486" y="6273800"/>
                  </a:lnTo>
                  <a:lnTo>
                    <a:pt x="2603109" y="6235700"/>
                  </a:lnTo>
                  <a:lnTo>
                    <a:pt x="2572016" y="6197600"/>
                  </a:lnTo>
                  <a:lnTo>
                    <a:pt x="2541206" y="6159500"/>
                  </a:lnTo>
                  <a:lnTo>
                    <a:pt x="2510680" y="6121400"/>
                  </a:lnTo>
                  <a:lnTo>
                    <a:pt x="2480439" y="6070600"/>
                  </a:lnTo>
                  <a:lnTo>
                    <a:pt x="2450483" y="6032500"/>
                  </a:lnTo>
                  <a:lnTo>
                    <a:pt x="2420814" y="5994400"/>
                  </a:lnTo>
                  <a:lnTo>
                    <a:pt x="2391431" y="5956300"/>
                  </a:lnTo>
                  <a:lnTo>
                    <a:pt x="2362335" y="5918200"/>
                  </a:lnTo>
                  <a:lnTo>
                    <a:pt x="2333528" y="5867400"/>
                  </a:lnTo>
                  <a:lnTo>
                    <a:pt x="2305009" y="5829300"/>
                  </a:lnTo>
                  <a:lnTo>
                    <a:pt x="2276780" y="5791200"/>
                  </a:lnTo>
                  <a:lnTo>
                    <a:pt x="2248841" y="5753100"/>
                  </a:lnTo>
                  <a:lnTo>
                    <a:pt x="2221193" y="5702300"/>
                  </a:lnTo>
                  <a:lnTo>
                    <a:pt x="2193836" y="5664200"/>
                  </a:lnTo>
                  <a:lnTo>
                    <a:pt x="2166771" y="5626100"/>
                  </a:lnTo>
                  <a:lnTo>
                    <a:pt x="2139999" y="5575300"/>
                  </a:lnTo>
                  <a:lnTo>
                    <a:pt x="2113520" y="5537200"/>
                  </a:lnTo>
                  <a:lnTo>
                    <a:pt x="2087335" y="5486400"/>
                  </a:lnTo>
                  <a:lnTo>
                    <a:pt x="2061446" y="5448300"/>
                  </a:lnTo>
                  <a:lnTo>
                    <a:pt x="2035851" y="5397500"/>
                  </a:lnTo>
                  <a:lnTo>
                    <a:pt x="2010553" y="5359400"/>
                  </a:lnTo>
                  <a:lnTo>
                    <a:pt x="1985552" y="5308600"/>
                  </a:lnTo>
                  <a:lnTo>
                    <a:pt x="1960848" y="5270500"/>
                  </a:lnTo>
                  <a:lnTo>
                    <a:pt x="1936442" y="5219700"/>
                  </a:lnTo>
                  <a:lnTo>
                    <a:pt x="1912334" y="5181600"/>
                  </a:lnTo>
                  <a:lnTo>
                    <a:pt x="1888527" y="5130800"/>
                  </a:lnTo>
                  <a:lnTo>
                    <a:pt x="1865019" y="5080000"/>
                  </a:lnTo>
                  <a:lnTo>
                    <a:pt x="1841812" y="5041900"/>
                  </a:lnTo>
                  <a:lnTo>
                    <a:pt x="1818907" y="4991100"/>
                  </a:lnTo>
                  <a:lnTo>
                    <a:pt x="1796304" y="4940300"/>
                  </a:lnTo>
                  <a:lnTo>
                    <a:pt x="1774003" y="4902200"/>
                  </a:lnTo>
                  <a:lnTo>
                    <a:pt x="1753712" y="4851400"/>
                  </a:lnTo>
                  <a:lnTo>
                    <a:pt x="1733670" y="4813300"/>
                  </a:lnTo>
                  <a:lnTo>
                    <a:pt x="1713878" y="4762500"/>
                  </a:lnTo>
                  <a:lnTo>
                    <a:pt x="1694337" y="4724400"/>
                  </a:lnTo>
                  <a:lnTo>
                    <a:pt x="1675048" y="4673600"/>
                  </a:lnTo>
                  <a:lnTo>
                    <a:pt x="1656010" y="4635500"/>
                  </a:lnTo>
                  <a:lnTo>
                    <a:pt x="1637225" y="4584700"/>
                  </a:lnTo>
                  <a:lnTo>
                    <a:pt x="1618693" y="4546600"/>
                  </a:lnTo>
                  <a:lnTo>
                    <a:pt x="1600415" y="4495800"/>
                  </a:lnTo>
                  <a:lnTo>
                    <a:pt x="1582391" y="4457700"/>
                  </a:lnTo>
                  <a:lnTo>
                    <a:pt x="1564621" y="4406900"/>
                  </a:lnTo>
                  <a:lnTo>
                    <a:pt x="1547107" y="4356100"/>
                  </a:lnTo>
                  <a:lnTo>
                    <a:pt x="1529849" y="4318000"/>
                  </a:lnTo>
                  <a:lnTo>
                    <a:pt x="1512847" y="4267200"/>
                  </a:lnTo>
                  <a:lnTo>
                    <a:pt x="1496103" y="4216400"/>
                  </a:lnTo>
                  <a:lnTo>
                    <a:pt x="1479616" y="4178300"/>
                  </a:lnTo>
                  <a:lnTo>
                    <a:pt x="1463387" y="4127500"/>
                  </a:lnTo>
                  <a:lnTo>
                    <a:pt x="1447416" y="4076700"/>
                  </a:lnTo>
                  <a:lnTo>
                    <a:pt x="1431706" y="4038600"/>
                  </a:lnTo>
                  <a:lnTo>
                    <a:pt x="1416255" y="3987800"/>
                  </a:lnTo>
                  <a:lnTo>
                    <a:pt x="1401064" y="3937000"/>
                  </a:lnTo>
                  <a:lnTo>
                    <a:pt x="1386134" y="3886200"/>
                  </a:lnTo>
                  <a:lnTo>
                    <a:pt x="1371466" y="3848100"/>
                  </a:lnTo>
                  <a:lnTo>
                    <a:pt x="1357060" y="3797300"/>
                  </a:lnTo>
                  <a:lnTo>
                    <a:pt x="1342917" y="3746500"/>
                  </a:lnTo>
                  <a:lnTo>
                    <a:pt x="1329037" y="3695700"/>
                  </a:lnTo>
                  <a:lnTo>
                    <a:pt x="1315421" y="3644900"/>
                  </a:lnTo>
                  <a:lnTo>
                    <a:pt x="1302070" y="3594100"/>
                  </a:lnTo>
                  <a:lnTo>
                    <a:pt x="1288983" y="3543300"/>
                  </a:lnTo>
                  <a:lnTo>
                    <a:pt x="1276162" y="3492500"/>
                  </a:lnTo>
                  <a:lnTo>
                    <a:pt x="1263607" y="3454400"/>
                  </a:lnTo>
                  <a:lnTo>
                    <a:pt x="1251318" y="3403600"/>
                  </a:lnTo>
                  <a:lnTo>
                    <a:pt x="1239297" y="3352800"/>
                  </a:lnTo>
                  <a:lnTo>
                    <a:pt x="1227544" y="3302000"/>
                  </a:lnTo>
                  <a:lnTo>
                    <a:pt x="1216059" y="3251200"/>
                  </a:lnTo>
                  <a:lnTo>
                    <a:pt x="1204843" y="3200400"/>
                  </a:lnTo>
                  <a:lnTo>
                    <a:pt x="1193896" y="3149600"/>
                  </a:lnTo>
                  <a:lnTo>
                    <a:pt x="1183219" y="3098800"/>
                  </a:lnTo>
                  <a:lnTo>
                    <a:pt x="1172814" y="3048000"/>
                  </a:lnTo>
                  <a:lnTo>
                    <a:pt x="1162679" y="2997200"/>
                  </a:lnTo>
                  <a:lnTo>
                    <a:pt x="1152816" y="2946400"/>
                  </a:lnTo>
                  <a:lnTo>
                    <a:pt x="1143225" y="2882900"/>
                  </a:lnTo>
                  <a:lnTo>
                    <a:pt x="1133908" y="2832100"/>
                  </a:lnTo>
                  <a:lnTo>
                    <a:pt x="1125437" y="2794000"/>
                  </a:lnTo>
                  <a:lnTo>
                    <a:pt x="1117205" y="2743200"/>
                  </a:lnTo>
                  <a:lnTo>
                    <a:pt x="1109213" y="2692400"/>
                  </a:lnTo>
                  <a:lnTo>
                    <a:pt x="1101460" y="2641600"/>
                  </a:lnTo>
                  <a:lnTo>
                    <a:pt x="1093947" y="2590799"/>
                  </a:lnTo>
                  <a:lnTo>
                    <a:pt x="1086673" y="2539999"/>
                  </a:lnTo>
                  <a:lnTo>
                    <a:pt x="1079639" y="2501899"/>
                  </a:lnTo>
                  <a:lnTo>
                    <a:pt x="1072845" y="2451099"/>
                  </a:lnTo>
                  <a:lnTo>
                    <a:pt x="1066291" y="2400299"/>
                  </a:lnTo>
                  <a:lnTo>
                    <a:pt x="1059976" y="2349499"/>
                  </a:lnTo>
                  <a:lnTo>
                    <a:pt x="1053902" y="2298699"/>
                  </a:lnTo>
                  <a:lnTo>
                    <a:pt x="1048068" y="2247899"/>
                  </a:lnTo>
                  <a:lnTo>
                    <a:pt x="1042474" y="2197099"/>
                  </a:lnTo>
                  <a:lnTo>
                    <a:pt x="1037120" y="2146299"/>
                  </a:lnTo>
                  <a:lnTo>
                    <a:pt x="1032006" y="2108199"/>
                  </a:lnTo>
                  <a:lnTo>
                    <a:pt x="1027133" y="2057399"/>
                  </a:lnTo>
                  <a:lnTo>
                    <a:pt x="1022500" y="2006599"/>
                  </a:lnTo>
                  <a:lnTo>
                    <a:pt x="1018108" y="1955799"/>
                  </a:lnTo>
                  <a:lnTo>
                    <a:pt x="1013957" y="1904999"/>
                  </a:lnTo>
                  <a:lnTo>
                    <a:pt x="1010046" y="1854199"/>
                  </a:lnTo>
                  <a:lnTo>
                    <a:pt x="1006376" y="1803399"/>
                  </a:lnTo>
                  <a:lnTo>
                    <a:pt x="1002946" y="1752599"/>
                  </a:lnTo>
                  <a:lnTo>
                    <a:pt x="999758" y="1701799"/>
                  </a:lnTo>
                  <a:lnTo>
                    <a:pt x="996810" y="1650999"/>
                  </a:lnTo>
                  <a:lnTo>
                    <a:pt x="994104" y="1600199"/>
                  </a:lnTo>
                  <a:lnTo>
                    <a:pt x="991639" y="1549399"/>
                  </a:lnTo>
                  <a:lnTo>
                    <a:pt x="989415" y="1498599"/>
                  </a:lnTo>
                  <a:lnTo>
                    <a:pt x="987432" y="1447799"/>
                  </a:lnTo>
                  <a:lnTo>
                    <a:pt x="985690" y="1396999"/>
                  </a:lnTo>
                  <a:lnTo>
                    <a:pt x="984190" y="1346199"/>
                  </a:lnTo>
                  <a:lnTo>
                    <a:pt x="982932" y="1295399"/>
                  </a:lnTo>
                  <a:lnTo>
                    <a:pt x="981915" y="1244599"/>
                  </a:lnTo>
                  <a:lnTo>
                    <a:pt x="981139" y="1193799"/>
                  </a:lnTo>
                  <a:lnTo>
                    <a:pt x="980606" y="1142999"/>
                  </a:lnTo>
                  <a:lnTo>
                    <a:pt x="980387" y="1104899"/>
                  </a:lnTo>
                  <a:lnTo>
                    <a:pt x="980263" y="1028699"/>
                  </a:lnTo>
                  <a:lnTo>
                    <a:pt x="980686" y="952499"/>
                  </a:lnTo>
                  <a:lnTo>
                    <a:pt x="981547" y="888999"/>
                  </a:lnTo>
                  <a:lnTo>
                    <a:pt x="982810" y="825499"/>
                  </a:lnTo>
                  <a:lnTo>
                    <a:pt x="984442" y="761999"/>
                  </a:lnTo>
                  <a:lnTo>
                    <a:pt x="986406" y="698499"/>
                  </a:lnTo>
                  <a:lnTo>
                    <a:pt x="988668" y="634999"/>
                  </a:lnTo>
                  <a:lnTo>
                    <a:pt x="991193" y="584199"/>
                  </a:lnTo>
                  <a:lnTo>
                    <a:pt x="993944" y="533399"/>
                  </a:lnTo>
                  <a:lnTo>
                    <a:pt x="996888" y="482599"/>
                  </a:lnTo>
                  <a:lnTo>
                    <a:pt x="999989" y="431799"/>
                  </a:lnTo>
                  <a:lnTo>
                    <a:pt x="1003212" y="380999"/>
                  </a:lnTo>
                  <a:lnTo>
                    <a:pt x="1006521" y="330199"/>
                  </a:lnTo>
                  <a:lnTo>
                    <a:pt x="1016618" y="215899"/>
                  </a:lnTo>
                  <a:lnTo>
                    <a:pt x="1019923" y="177799"/>
                  </a:lnTo>
                  <a:lnTo>
                    <a:pt x="1023139" y="152399"/>
                  </a:lnTo>
                  <a:lnTo>
                    <a:pt x="1026231" y="114299"/>
                  </a:lnTo>
                  <a:lnTo>
                    <a:pt x="1029164" y="88899"/>
                  </a:lnTo>
                  <a:lnTo>
                    <a:pt x="1029695" y="88899"/>
                  </a:lnTo>
                  <a:lnTo>
                    <a:pt x="1030646" y="76792"/>
                  </a:lnTo>
                  <a:lnTo>
                    <a:pt x="1031157" y="76199"/>
                  </a:lnTo>
                  <a:lnTo>
                    <a:pt x="1057704" y="76199"/>
                  </a:lnTo>
                  <a:lnTo>
                    <a:pt x="1055615" y="88899"/>
                  </a:lnTo>
                  <a:lnTo>
                    <a:pt x="1054161" y="101599"/>
                  </a:lnTo>
                  <a:lnTo>
                    <a:pt x="1052658" y="126999"/>
                  </a:lnTo>
                  <a:lnTo>
                    <a:pt x="1051110" y="139699"/>
                  </a:lnTo>
                  <a:lnTo>
                    <a:pt x="1049522" y="152399"/>
                  </a:lnTo>
                  <a:lnTo>
                    <a:pt x="1047899" y="165099"/>
                  </a:lnTo>
                  <a:lnTo>
                    <a:pt x="1046246" y="190499"/>
                  </a:lnTo>
                  <a:lnTo>
                    <a:pt x="1042871" y="215899"/>
                  </a:lnTo>
                  <a:lnTo>
                    <a:pt x="1041158" y="241299"/>
                  </a:lnTo>
                  <a:lnTo>
                    <a:pt x="1039434" y="253999"/>
                  </a:lnTo>
                  <a:lnTo>
                    <a:pt x="1035975" y="304799"/>
                  </a:lnTo>
                  <a:lnTo>
                    <a:pt x="1034249" y="317499"/>
                  </a:lnTo>
                  <a:lnTo>
                    <a:pt x="1030830" y="368299"/>
                  </a:lnTo>
                  <a:lnTo>
                    <a:pt x="1027485" y="419099"/>
                  </a:lnTo>
                  <a:lnTo>
                    <a:pt x="1024255" y="469899"/>
                  </a:lnTo>
                  <a:lnTo>
                    <a:pt x="1021178" y="520699"/>
                  </a:lnTo>
                  <a:lnTo>
                    <a:pt x="1018292" y="571499"/>
                  </a:lnTo>
                  <a:lnTo>
                    <a:pt x="1016934" y="609599"/>
                  </a:lnTo>
                  <a:lnTo>
                    <a:pt x="1015638" y="634999"/>
                  </a:lnTo>
                  <a:lnTo>
                    <a:pt x="1014410" y="660399"/>
                  </a:lnTo>
                  <a:lnTo>
                    <a:pt x="1013253" y="698499"/>
                  </a:lnTo>
                  <a:lnTo>
                    <a:pt x="1012175" y="723899"/>
                  </a:lnTo>
                  <a:lnTo>
                    <a:pt x="1011178" y="761999"/>
                  </a:lnTo>
                  <a:lnTo>
                    <a:pt x="1010268" y="787399"/>
                  </a:lnTo>
                  <a:lnTo>
                    <a:pt x="1009450" y="825499"/>
                  </a:lnTo>
                  <a:lnTo>
                    <a:pt x="1008110" y="888999"/>
                  </a:lnTo>
                  <a:lnTo>
                    <a:pt x="1007597" y="927099"/>
                  </a:lnTo>
                  <a:lnTo>
                    <a:pt x="1006909" y="990599"/>
                  </a:lnTo>
                  <a:lnTo>
                    <a:pt x="1006745" y="1028699"/>
                  </a:lnTo>
                  <a:lnTo>
                    <a:pt x="1006798" y="1104899"/>
                  </a:lnTo>
                  <a:lnTo>
                    <a:pt x="1007026" y="1142999"/>
                  </a:lnTo>
                  <a:lnTo>
                    <a:pt x="1007395" y="1181099"/>
                  </a:lnTo>
                  <a:lnTo>
                    <a:pt x="1007909" y="1219199"/>
                  </a:lnTo>
                  <a:lnTo>
                    <a:pt x="1008573" y="1257299"/>
                  </a:lnTo>
                  <a:lnTo>
                    <a:pt x="1009392" y="1295399"/>
                  </a:lnTo>
                  <a:lnTo>
                    <a:pt x="1010372" y="1333499"/>
                  </a:lnTo>
                  <a:lnTo>
                    <a:pt x="1011516" y="1371599"/>
                  </a:lnTo>
                  <a:lnTo>
                    <a:pt x="1012830" y="1422399"/>
                  </a:lnTo>
                  <a:lnTo>
                    <a:pt x="1014319" y="1460499"/>
                  </a:lnTo>
                  <a:lnTo>
                    <a:pt x="1015987" y="1498599"/>
                  </a:lnTo>
                  <a:lnTo>
                    <a:pt x="1017840" y="1536699"/>
                  </a:lnTo>
                  <a:lnTo>
                    <a:pt x="1019882" y="1587499"/>
                  </a:lnTo>
                  <a:lnTo>
                    <a:pt x="1022118" y="1625599"/>
                  </a:lnTo>
                  <a:lnTo>
                    <a:pt x="1024553" y="1676399"/>
                  </a:lnTo>
                  <a:lnTo>
                    <a:pt x="1027192" y="1714499"/>
                  </a:lnTo>
                  <a:lnTo>
                    <a:pt x="1030040" y="1752599"/>
                  </a:lnTo>
                  <a:lnTo>
                    <a:pt x="1033101" y="1803399"/>
                  </a:lnTo>
                  <a:lnTo>
                    <a:pt x="1036381" y="1841499"/>
                  </a:lnTo>
                  <a:lnTo>
                    <a:pt x="1039884" y="1892299"/>
                  </a:lnTo>
                  <a:lnTo>
                    <a:pt x="1043616" y="1943099"/>
                  </a:lnTo>
                  <a:lnTo>
                    <a:pt x="1047580" y="1981199"/>
                  </a:lnTo>
                  <a:lnTo>
                    <a:pt x="1051783" y="2031999"/>
                  </a:lnTo>
                  <a:lnTo>
                    <a:pt x="1056228" y="2070099"/>
                  </a:lnTo>
                  <a:lnTo>
                    <a:pt x="1060921" y="2120899"/>
                  </a:lnTo>
                  <a:lnTo>
                    <a:pt x="1065867" y="2171699"/>
                  </a:lnTo>
                  <a:lnTo>
                    <a:pt x="1071070" y="2222499"/>
                  </a:lnTo>
                  <a:lnTo>
                    <a:pt x="1076535" y="2260599"/>
                  </a:lnTo>
                  <a:lnTo>
                    <a:pt x="1082268" y="2311399"/>
                  </a:lnTo>
                  <a:lnTo>
                    <a:pt x="1088273" y="2362199"/>
                  </a:lnTo>
                  <a:lnTo>
                    <a:pt x="1094555" y="2412999"/>
                  </a:lnTo>
                  <a:lnTo>
                    <a:pt x="1101118" y="2463800"/>
                  </a:lnTo>
                  <a:lnTo>
                    <a:pt x="1107969" y="2501900"/>
                  </a:lnTo>
                  <a:lnTo>
                    <a:pt x="1115110" y="2552700"/>
                  </a:lnTo>
                  <a:lnTo>
                    <a:pt x="1122549" y="2603500"/>
                  </a:lnTo>
                  <a:lnTo>
                    <a:pt x="1130288" y="2654300"/>
                  </a:lnTo>
                  <a:lnTo>
                    <a:pt x="1138334" y="2705100"/>
                  </a:lnTo>
                  <a:lnTo>
                    <a:pt x="1146691" y="2755900"/>
                  </a:lnTo>
                  <a:lnTo>
                    <a:pt x="1155363" y="2806700"/>
                  </a:lnTo>
                  <a:lnTo>
                    <a:pt x="1164357" y="2857500"/>
                  </a:lnTo>
                  <a:lnTo>
                    <a:pt x="1173676" y="2908300"/>
                  </a:lnTo>
                  <a:lnTo>
                    <a:pt x="1183326" y="2959100"/>
                  </a:lnTo>
                  <a:lnTo>
                    <a:pt x="1193311" y="3009900"/>
                  </a:lnTo>
                  <a:lnTo>
                    <a:pt x="1203636" y="3060700"/>
                  </a:lnTo>
                  <a:lnTo>
                    <a:pt x="1214306" y="3111500"/>
                  </a:lnTo>
                  <a:lnTo>
                    <a:pt x="1225327" y="3162300"/>
                  </a:lnTo>
                  <a:lnTo>
                    <a:pt x="1236702" y="3213100"/>
                  </a:lnTo>
                  <a:lnTo>
                    <a:pt x="1248438" y="3276600"/>
                  </a:lnTo>
                  <a:lnTo>
                    <a:pt x="1260537" y="3327400"/>
                  </a:lnTo>
                  <a:lnTo>
                    <a:pt x="1273007" y="3378200"/>
                  </a:lnTo>
                  <a:lnTo>
                    <a:pt x="1285850" y="3429000"/>
                  </a:lnTo>
                  <a:lnTo>
                    <a:pt x="1299073" y="3479800"/>
                  </a:lnTo>
                  <a:lnTo>
                    <a:pt x="1312680" y="3530600"/>
                  </a:lnTo>
                  <a:lnTo>
                    <a:pt x="1326676" y="3581400"/>
                  </a:lnTo>
                  <a:lnTo>
                    <a:pt x="1341066" y="3644900"/>
                  </a:lnTo>
                  <a:lnTo>
                    <a:pt x="1355855" y="3695700"/>
                  </a:lnTo>
                  <a:lnTo>
                    <a:pt x="1371047" y="3746500"/>
                  </a:lnTo>
                  <a:lnTo>
                    <a:pt x="1386648" y="3797300"/>
                  </a:lnTo>
                  <a:lnTo>
                    <a:pt x="1402662" y="3848100"/>
                  </a:lnTo>
                  <a:lnTo>
                    <a:pt x="1419094" y="3911600"/>
                  </a:lnTo>
                  <a:lnTo>
                    <a:pt x="1435949" y="3962400"/>
                  </a:lnTo>
                  <a:lnTo>
                    <a:pt x="1453232" y="4013200"/>
                  </a:lnTo>
                  <a:lnTo>
                    <a:pt x="1470948" y="4064000"/>
                  </a:lnTo>
                  <a:lnTo>
                    <a:pt x="1489102" y="4127500"/>
                  </a:lnTo>
                  <a:lnTo>
                    <a:pt x="1507699" y="4178300"/>
                  </a:lnTo>
                  <a:lnTo>
                    <a:pt x="1526742" y="4229100"/>
                  </a:lnTo>
                  <a:lnTo>
                    <a:pt x="1546239" y="4279900"/>
                  </a:lnTo>
                  <a:lnTo>
                    <a:pt x="1566192" y="4343400"/>
                  </a:lnTo>
                  <a:lnTo>
                    <a:pt x="1586607" y="4394200"/>
                  </a:lnTo>
                  <a:lnTo>
                    <a:pt x="1607489" y="4445000"/>
                  </a:lnTo>
                  <a:lnTo>
                    <a:pt x="1628844" y="4495800"/>
                  </a:lnTo>
                  <a:lnTo>
                    <a:pt x="1650674" y="4546600"/>
                  </a:lnTo>
                  <a:lnTo>
                    <a:pt x="1672987" y="4610100"/>
                  </a:lnTo>
                  <a:lnTo>
                    <a:pt x="1695785" y="4660900"/>
                  </a:lnTo>
                  <a:lnTo>
                    <a:pt x="1719075" y="4711700"/>
                  </a:lnTo>
                  <a:lnTo>
                    <a:pt x="1742861" y="4762500"/>
                  </a:lnTo>
                  <a:lnTo>
                    <a:pt x="1767149" y="4826000"/>
                  </a:lnTo>
                  <a:lnTo>
                    <a:pt x="1791942" y="4876800"/>
                  </a:lnTo>
                  <a:lnTo>
                    <a:pt x="1817245" y="4927600"/>
                  </a:lnTo>
                  <a:lnTo>
                    <a:pt x="1843065" y="4978400"/>
                  </a:lnTo>
                  <a:lnTo>
                    <a:pt x="1869405" y="5029200"/>
                  </a:lnTo>
                  <a:lnTo>
                    <a:pt x="1896270" y="5092700"/>
                  </a:lnTo>
                  <a:lnTo>
                    <a:pt x="1923666" y="5143500"/>
                  </a:lnTo>
                  <a:lnTo>
                    <a:pt x="1951596" y="5194300"/>
                  </a:lnTo>
                  <a:lnTo>
                    <a:pt x="1980067" y="5245100"/>
                  </a:lnTo>
                  <a:lnTo>
                    <a:pt x="2009083" y="5295900"/>
                  </a:lnTo>
                  <a:lnTo>
                    <a:pt x="2038648" y="5359400"/>
                  </a:lnTo>
                  <a:lnTo>
                    <a:pt x="2068768" y="5410200"/>
                  </a:lnTo>
                  <a:lnTo>
                    <a:pt x="2099447" y="5461000"/>
                  </a:lnTo>
                  <a:lnTo>
                    <a:pt x="2130691" y="5511800"/>
                  </a:lnTo>
                  <a:lnTo>
                    <a:pt x="2162504" y="5562600"/>
                  </a:lnTo>
                  <a:lnTo>
                    <a:pt x="2194891" y="5613400"/>
                  </a:lnTo>
                  <a:lnTo>
                    <a:pt x="2227857" y="5664200"/>
                  </a:lnTo>
                  <a:lnTo>
                    <a:pt x="2261407" y="5715000"/>
                  </a:lnTo>
                  <a:lnTo>
                    <a:pt x="2295546" y="5765800"/>
                  </a:lnTo>
                  <a:lnTo>
                    <a:pt x="2330278" y="5816600"/>
                  </a:lnTo>
                  <a:lnTo>
                    <a:pt x="2365608" y="5867400"/>
                  </a:lnTo>
                  <a:lnTo>
                    <a:pt x="2401542" y="5918200"/>
                  </a:lnTo>
                  <a:lnTo>
                    <a:pt x="2438084" y="5969000"/>
                  </a:lnTo>
                  <a:lnTo>
                    <a:pt x="2475239" y="6019800"/>
                  </a:lnTo>
                  <a:lnTo>
                    <a:pt x="2513013" y="6070600"/>
                  </a:lnTo>
                  <a:lnTo>
                    <a:pt x="2551408" y="6121400"/>
                  </a:lnTo>
                  <a:lnTo>
                    <a:pt x="2590432" y="6172200"/>
                  </a:lnTo>
                  <a:lnTo>
                    <a:pt x="2630088" y="6223000"/>
                  </a:lnTo>
                  <a:lnTo>
                    <a:pt x="2670382" y="6273800"/>
                  </a:lnTo>
                  <a:lnTo>
                    <a:pt x="2711318" y="6324600"/>
                  </a:lnTo>
                  <a:lnTo>
                    <a:pt x="2752900" y="6375400"/>
                  </a:lnTo>
                  <a:lnTo>
                    <a:pt x="2795136" y="6426200"/>
                  </a:lnTo>
                  <a:lnTo>
                    <a:pt x="2838027" y="6464300"/>
                  </a:lnTo>
                  <a:lnTo>
                    <a:pt x="2881581" y="6515100"/>
                  </a:lnTo>
                  <a:lnTo>
                    <a:pt x="2925801" y="6565900"/>
                  </a:lnTo>
                  <a:lnTo>
                    <a:pt x="2970693" y="6616700"/>
                  </a:lnTo>
                  <a:lnTo>
                    <a:pt x="3016262" y="6654800"/>
                  </a:lnTo>
                  <a:lnTo>
                    <a:pt x="3062511" y="6705600"/>
                  </a:lnTo>
                  <a:lnTo>
                    <a:pt x="3109447" y="6756400"/>
                  </a:lnTo>
                  <a:lnTo>
                    <a:pt x="3157073" y="6794500"/>
                  </a:lnTo>
                  <a:lnTo>
                    <a:pt x="3203469" y="68453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100619" y="0"/>
              <a:ext cx="1390650" cy="2380615"/>
            </a:xfrm>
            <a:custGeom>
              <a:avLst/>
              <a:gdLst/>
              <a:ahLst/>
              <a:cxnLst/>
              <a:rect l="l" t="t" r="r" b="b"/>
              <a:pathLst>
                <a:path w="1390650" h="2380615">
                  <a:moveTo>
                    <a:pt x="84597" y="2380552"/>
                  </a:moveTo>
                  <a:lnTo>
                    <a:pt x="1359" y="1434726"/>
                  </a:lnTo>
                  <a:lnTo>
                    <a:pt x="0" y="680126"/>
                  </a:lnTo>
                  <a:lnTo>
                    <a:pt x="33595" y="180567"/>
                  </a:lnTo>
                  <a:lnTo>
                    <a:pt x="55205" y="0"/>
                  </a:lnTo>
                  <a:lnTo>
                    <a:pt x="1390276" y="0"/>
                  </a:lnTo>
                  <a:lnTo>
                    <a:pt x="1370171" y="26772"/>
                  </a:lnTo>
                  <a:lnTo>
                    <a:pt x="78151" y="26771"/>
                  </a:lnTo>
                  <a:lnTo>
                    <a:pt x="75629" y="46118"/>
                  </a:lnTo>
                  <a:lnTo>
                    <a:pt x="68905" y="101801"/>
                  </a:lnTo>
                  <a:lnTo>
                    <a:pt x="60583" y="179175"/>
                  </a:lnTo>
                  <a:lnTo>
                    <a:pt x="56065" y="225635"/>
                  </a:lnTo>
                  <a:lnTo>
                    <a:pt x="51437" y="277085"/>
                  </a:lnTo>
                  <a:lnTo>
                    <a:pt x="46739" y="334150"/>
                  </a:lnTo>
                  <a:lnTo>
                    <a:pt x="42239" y="394378"/>
                  </a:lnTo>
                  <a:lnTo>
                    <a:pt x="37862" y="459933"/>
                  </a:lnTo>
                  <a:lnTo>
                    <a:pt x="33686" y="531401"/>
                  </a:lnTo>
                  <a:lnTo>
                    <a:pt x="30033" y="604138"/>
                  </a:lnTo>
                  <a:lnTo>
                    <a:pt x="26775" y="682501"/>
                  </a:lnTo>
                  <a:lnTo>
                    <a:pt x="24290" y="755830"/>
                  </a:lnTo>
                  <a:lnTo>
                    <a:pt x="23208" y="795209"/>
                  </a:lnTo>
                  <a:lnTo>
                    <a:pt x="22306" y="833950"/>
                  </a:lnTo>
                  <a:lnTo>
                    <a:pt x="21535" y="874751"/>
                  </a:lnTo>
                  <a:lnTo>
                    <a:pt x="20927" y="916683"/>
                  </a:lnTo>
                  <a:lnTo>
                    <a:pt x="20495" y="959724"/>
                  </a:lnTo>
                  <a:lnTo>
                    <a:pt x="20253" y="1003852"/>
                  </a:lnTo>
                  <a:lnTo>
                    <a:pt x="20257" y="1060460"/>
                  </a:lnTo>
                  <a:lnTo>
                    <a:pt x="20823" y="1144710"/>
                  </a:lnTo>
                  <a:lnTo>
                    <a:pt x="21439" y="1190791"/>
                  </a:lnTo>
                  <a:lnTo>
                    <a:pt x="22337" y="1240023"/>
                  </a:lnTo>
                  <a:lnTo>
                    <a:pt x="23502" y="1290208"/>
                  </a:lnTo>
                  <a:lnTo>
                    <a:pt x="24947" y="1341326"/>
                  </a:lnTo>
                  <a:lnTo>
                    <a:pt x="26684" y="1393354"/>
                  </a:lnTo>
                  <a:lnTo>
                    <a:pt x="28727" y="1446270"/>
                  </a:lnTo>
                  <a:lnTo>
                    <a:pt x="31087" y="1500052"/>
                  </a:lnTo>
                  <a:lnTo>
                    <a:pt x="33778" y="1554678"/>
                  </a:lnTo>
                  <a:lnTo>
                    <a:pt x="36813" y="1610125"/>
                  </a:lnTo>
                  <a:lnTo>
                    <a:pt x="40205" y="1666373"/>
                  </a:lnTo>
                  <a:lnTo>
                    <a:pt x="43966" y="1723398"/>
                  </a:lnTo>
                  <a:lnTo>
                    <a:pt x="48109" y="1781178"/>
                  </a:lnTo>
                  <a:lnTo>
                    <a:pt x="52648" y="1839691"/>
                  </a:lnTo>
                  <a:lnTo>
                    <a:pt x="57594" y="1898916"/>
                  </a:lnTo>
                  <a:lnTo>
                    <a:pt x="62961" y="1958830"/>
                  </a:lnTo>
                  <a:lnTo>
                    <a:pt x="68763" y="2019411"/>
                  </a:lnTo>
                  <a:lnTo>
                    <a:pt x="75010" y="2080637"/>
                  </a:lnTo>
                  <a:lnTo>
                    <a:pt x="81717" y="2142486"/>
                  </a:lnTo>
                  <a:lnTo>
                    <a:pt x="88896" y="2204936"/>
                  </a:lnTo>
                  <a:lnTo>
                    <a:pt x="96561" y="2267964"/>
                  </a:lnTo>
                  <a:lnTo>
                    <a:pt x="125155" y="2267964"/>
                  </a:lnTo>
                  <a:lnTo>
                    <a:pt x="118077" y="2286902"/>
                  </a:lnTo>
                  <a:lnTo>
                    <a:pt x="104890" y="2322860"/>
                  </a:lnTo>
                  <a:lnTo>
                    <a:pt x="91324" y="2360994"/>
                  </a:lnTo>
                  <a:lnTo>
                    <a:pt x="86356" y="2375384"/>
                  </a:lnTo>
                  <a:lnTo>
                    <a:pt x="84597" y="2380552"/>
                  </a:lnTo>
                  <a:close/>
                </a:path>
                <a:path w="1390650" h="2380615">
                  <a:moveTo>
                    <a:pt x="125155" y="2267964"/>
                  </a:moveTo>
                  <a:lnTo>
                    <a:pt x="96561" y="2267964"/>
                  </a:lnTo>
                  <a:lnTo>
                    <a:pt x="107174" y="2239819"/>
                  </a:lnTo>
                  <a:lnTo>
                    <a:pt x="119141" y="2208617"/>
                  </a:lnTo>
                  <a:lnTo>
                    <a:pt x="147170" y="2137384"/>
                  </a:lnTo>
                  <a:lnTo>
                    <a:pt x="163252" y="2097523"/>
                  </a:lnTo>
                  <a:lnTo>
                    <a:pt x="180726" y="2054944"/>
                  </a:lnTo>
                  <a:lnTo>
                    <a:pt x="199602" y="2009734"/>
                  </a:lnTo>
                  <a:lnTo>
                    <a:pt x="219888" y="1961977"/>
                  </a:lnTo>
                  <a:lnTo>
                    <a:pt x="241594" y="1911759"/>
                  </a:lnTo>
                  <a:lnTo>
                    <a:pt x="264732" y="1859163"/>
                  </a:lnTo>
                  <a:lnTo>
                    <a:pt x="289309" y="1804275"/>
                  </a:lnTo>
                  <a:lnTo>
                    <a:pt x="315336" y="1747181"/>
                  </a:lnTo>
                  <a:lnTo>
                    <a:pt x="342823" y="1687965"/>
                  </a:lnTo>
                  <a:lnTo>
                    <a:pt x="371780" y="1626711"/>
                  </a:lnTo>
                  <a:lnTo>
                    <a:pt x="403495" y="1560996"/>
                  </a:lnTo>
                  <a:lnTo>
                    <a:pt x="437514" y="1491951"/>
                  </a:lnTo>
                  <a:lnTo>
                    <a:pt x="455390" y="1456235"/>
                  </a:lnTo>
                  <a:lnTo>
                    <a:pt x="473843" y="1419751"/>
                  </a:lnTo>
                  <a:lnTo>
                    <a:pt x="492876" y="1382522"/>
                  </a:lnTo>
                  <a:lnTo>
                    <a:pt x="512489" y="1344569"/>
                  </a:lnTo>
                  <a:lnTo>
                    <a:pt x="532682" y="1305914"/>
                  </a:lnTo>
                  <a:lnTo>
                    <a:pt x="553457" y="1266579"/>
                  </a:lnTo>
                  <a:lnTo>
                    <a:pt x="574814" y="1226586"/>
                  </a:lnTo>
                  <a:lnTo>
                    <a:pt x="596754" y="1185955"/>
                  </a:lnTo>
                  <a:lnTo>
                    <a:pt x="619278" y="1144710"/>
                  </a:lnTo>
                  <a:lnTo>
                    <a:pt x="642387" y="1102871"/>
                  </a:lnTo>
                  <a:lnTo>
                    <a:pt x="666080" y="1060460"/>
                  </a:lnTo>
                  <a:lnTo>
                    <a:pt x="690360" y="1017500"/>
                  </a:lnTo>
                  <a:lnTo>
                    <a:pt x="715227" y="974011"/>
                  </a:lnTo>
                  <a:lnTo>
                    <a:pt x="740681" y="930016"/>
                  </a:lnTo>
                  <a:lnTo>
                    <a:pt x="766724" y="885536"/>
                  </a:lnTo>
                  <a:lnTo>
                    <a:pt x="793356" y="840594"/>
                  </a:lnTo>
                  <a:lnTo>
                    <a:pt x="820578" y="795209"/>
                  </a:lnTo>
                  <a:lnTo>
                    <a:pt x="848391" y="749406"/>
                  </a:lnTo>
                  <a:lnTo>
                    <a:pt x="876795" y="703204"/>
                  </a:lnTo>
                  <a:lnTo>
                    <a:pt x="905792" y="656626"/>
                  </a:lnTo>
                  <a:lnTo>
                    <a:pt x="935382" y="609694"/>
                  </a:lnTo>
                  <a:lnTo>
                    <a:pt x="965566" y="562429"/>
                  </a:lnTo>
                  <a:lnTo>
                    <a:pt x="996344" y="514854"/>
                  </a:lnTo>
                  <a:lnTo>
                    <a:pt x="1027718" y="466988"/>
                  </a:lnTo>
                  <a:lnTo>
                    <a:pt x="1059688" y="418856"/>
                  </a:lnTo>
                  <a:lnTo>
                    <a:pt x="1092255" y="370478"/>
                  </a:lnTo>
                  <a:lnTo>
                    <a:pt x="1125420" y="321875"/>
                  </a:lnTo>
                  <a:lnTo>
                    <a:pt x="1159184" y="273070"/>
                  </a:lnTo>
                  <a:lnTo>
                    <a:pt x="1193547" y="224085"/>
                  </a:lnTo>
                  <a:lnTo>
                    <a:pt x="1228510" y="174941"/>
                  </a:lnTo>
                  <a:lnTo>
                    <a:pt x="1264074" y="125659"/>
                  </a:lnTo>
                  <a:lnTo>
                    <a:pt x="1300239" y="76262"/>
                  </a:lnTo>
                  <a:lnTo>
                    <a:pt x="1337008" y="26772"/>
                  </a:lnTo>
                  <a:lnTo>
                    <a:pt x="1370171" y="26772"/>
                  </a:lnTo>
                  <a:lnTo>
                    <a:pt x="1339903" y="67078"/>
                  </a:lnTo>
                  <a:lnTo>
                    <a:pt x="1290519" y="134155"/>
                  </a:lnTo>
                  <a:lnTo>
                    <a:pt x="1242220" y="201054"/>
                  </a:lnTo>
                  <a:lnTo>
                    <a:pt x="1194999" y="267734"/>
                  </a:lnTo>
                  <a:lnTo>
                    <a:pt x="1148851" y="334151"/>
                  </a:lnTo>
                  <a:lnTo>
                    <a:pt x="1103771" y="400262"/>
                  </a:lnTo>
                  <a:lnTo>
                    <a:pt x="1059753" y="466027"/>
                  </a:lnTo>
                  <a:lnTo>
                    <a:pt x="1016791" y="531401"/>
                  </a:lnTo>
                  <a:lnTo>
                    <a:pt x="974879" y="596342"/>
                  </a:lnTo>
                  <a:lnTo>
                    <a:pt x="934012" y="660808"/>
                  </a:lnTo>
                  <a:lnTo>
                    <a:pt x="894185" y="724756"/>
                  </a:lnTo>
                  <a:lnTo>
                    <a:pt x="855391" y="788143"/>
                  </a:lnTo>
                  <a:lnTo>
                    <a:pt x="817625" y="850928"/>
                  </a:lnTo>
                  <a:lnTo>
                    <a:pt x="780881" y="913067"/>
                  </a:lnTo>
                  <a:lnTo>
                    <a:pt x="745154" y="974517"/>
                  </a:lnTo>
                  <a:lnTo>
                    <a:pt x="710437" y="1035237"/>
                  </a:lnTo>
                  <a:lnTo>
                    <a:pt x="676673" y="1095280"/>
                  </a:lnTo>
                  <a:lnTo>
                    <a:pt x="644016" y="1154314"/>
                  </a:lnTo>
                  <a:lnTo>
                    <a:pt x="612298" y="1212587"/>
                  </a:lnTo>
                  <a:lnTo>
                    <a:pt x="581570" y="1269958"/>
                  </a:lnTo>
                  <a:lnTo>
                    <a:pt x="551824" y="1326386"/>
                  </a:lnTo>
                  <a:lnTo>
                    <a:pt x="523055" y="1381827"/>
                  </a:lnTo>
                  <a:lnTo>
                    <a:pt x="495258" y="1436240"/>
                  </a:lnTo>
                  <a:lnTo>
                    <a:pt x="468426" y="1489581"/>
                  </a:lnTo>
                  <a:lnTo>
                    <a:pt x="442555" y="1541809"/>
                  </a:lnTo>
                  <a:lnTo>
                    <a:pt x="417638" y="1592880"/>
                  </a:lnTo>
                  <a:lnTo>
                    <a:pt x="393671" y="1642752"/>
                  </a:lnTo>
                  <a:lnTo>
                    <a:pt x="370646" y="1691383"/>
                  </a:lnTo>
                  <a:lnTo>
                    <a:pt x="348559" y="1738730"/>
                  </a:lnTo>
                  <a:lnTo>
                    <a:pt x="327404" y="1784750"/>
                  </a:lnTo>
                  <a:lnTo>
                    <a:pt x="307175" y="1829400"/>
                  </a:lnTo>
                  <a:lnTo>
                    <a:pt x="287867" y="1872639"/>
                  </a:lnTo>
                  <a:lnTo>
                    <a:pt x="269475" y="1914424"/>
                  </a:lnTo>
                  <a:lnTo>
                    <a:pt x="251991" y="1954711"/>
                  </a:lnTo>
                  <a:lnTo>
                    <a:pt x="235411" y="1993459"/>
                  </a:lnTo>
                  <a:lnTo>
                    <a:pt x="219729" y="2030625"/>
                  </a:lnTo>
                  <a:lnTo>
                    <a:pt x="204940" y="2066167"/>
                  </a:lnTo>
                  <a:lnTo>
                    <a:pt x="178016" y="2132205"/>
                  </a:lnTo>
                  <a:lnTo>
                    <a:pt x="154595" y="2191234"/>
                  </a:lnTo>
                  <a:lnTo>
                    <a:pt x="134630" y="2242913"/>
                  </a:lnTo>
                  <a:lnTo>
                    <a:pt x="125155" y="2267964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/>
          <p:nvPr/>
        </p:nvSpPr>
        <p:spPr>
          <a:xfrm>
            <a:off x="11146535" y="6465214"/>
            <a:ext cx="153670" cy="177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sz="1200" dirty="0">
                <a:solidFill>
                  <a:srgbClr val="FFFFFF"/>
                </a:solidFill>
                <a:latin typeface="Calibri"/>
                <a:cs typeface="Calibri"/>
              </a:rPr>
              <a:t>2</a:t>
            </a:fld>
            <a:endParaRPr sz="1200">
              <a:latin typeface="Calibri"/>
              <a:cs typeface="Calibri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86000" y="990600"/>
            <a:ext cx="7239000" cy="4378148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71244" y="1042416"/>
              <a:ext cx="541019" cy="449579"/>
            </a:xfrm>
            <a:prstGeom prst="rect">
              <a:avLst/>
            </a:prstGeom>
          </p:spPr>
        </p:pic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449579" y="134312"/>
            <a:ext cx="7177024" cy="87395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pc="-10" dirty="0" err="1"/>
              <a:t>Përmbledhje</a:t>
            </a:r>
            <a:r>
              <a:rPr lang="en-US" spc="15" dirty="0"/>
              <a:t> </a:t>
            </a:r>
            <a:r>
              <a:rPr lang="en-US" spc="-5" dirty="0"/>
              <a:t>e</a:t>
            </a:r>
            <a:r>
              <a:rPr lang="en-US" dirty="0"/>
              <a:t> </a:t>
            </a:r>
            <a:r>
              <a:rPr lang="en-US" spc="-10" dirty="0" err="1"/>
              <a:t>aktivitetit</a:t>
            </a:r>
            <a:r>
              <a:rPr lang="en-US" dirty="0"/>
              <a:t> </a:t>
            </a:r>
            <a:r>
              <a:rPr lang="en-US" spc="-5" dirty="0" err="1"/>
              <a:t>të</a:t>
            </a:r>
            <a:r>
              <a:rPr lang="en-US" spc="-10" dirty="0"/>
              <a:t> </a:t>
            </a:r>
            <a:r>
              <a:rPr lang="en-US" spc="-5" dirty="0" err="1"/>
              <a:t>Audituesit</a:t>
            </a:r>
            <a:r>
              <a:rPr lang="en-US" spc="15" dirty="0"/>
              <a:t> </a:t>
            </a:r>
            <a:r>
              <a:rPr lang="en-US" spc="-5" dirty="0" err="1"/>
              <a:t>të</a:t>
            </a:r>
            <a:r>
              <a:rPr lang="en-US" dirty="0"/>
              <a:t> </a:t>
            </a:r>
            <a:r>
              <a:rPr lang="en-US" spc="-5" dirty="0" err="1"/>
              <a:t>Brendshëm</a:t>
            </a:r>
            <a:endParaRPr spc="-10" dirty="0"/>
          </a:p>
        </p:txBody>
      </p:sp>
      <p:grpSp>
        <p:nvGrpSpPr>
          <p:cNvPr id="9" name="object 9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0" name="object 10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20</a:t>
            </a:fld>
            <a:endParaRPr dirty="0"/>
          </a:p>
        </p:txBody>
      </p:sp>
      <p:sp>
        <p:nvSpPr>
          <p:cNvPr id="15" name="Rectangle 14"/>
          <p:cNvSpPr/>
          <p:nvPr/>
        </p:nvSpPr>
        <p:spPr>
          <a:xfrm>
            <a:off x="269914" y="1094112"/>
            <a:ext cx="963608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Gja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vi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2022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uditim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Brendshe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esh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erqendr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udi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ktivitet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it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Demeve ,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Marrj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iguri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Menaxhim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Risku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dminist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financi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&amp;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ontabilitr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,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Risigu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knologj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s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Informacion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.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Baz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truktur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organizati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uditim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rye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b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duk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erfshi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epartamen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zyr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qendr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eg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gjen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ndermjetes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j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it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jo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qell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mbul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lotesish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gjith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fush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veprimta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s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baz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m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udi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ipa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ktivitet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mirat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lan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udi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Brendshe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vit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2022</a:t>
            </a:r>
            <a:endParaRPr lang="en-US" dirty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71244" y="1042416"/>
              <a:ext cx="541019" cy="449579"/>
            </a:xfrm>
            <a:prstGeom prst="rect">
              <a:avLst/>
            </a:prstGeom>
          </p:spPr>
        </p:pic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838200" y="152362"/>
            <a:ext cx="7381585" cy="87395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pc="-10" dirty="0" err="1"/>
              <a:t>Përmbledhje</a:t>
            </a:r>
            <a:r>
              <a:rPr lang="en-US" spc="15" dirty="0"/>
              <a:t> </a:t>
            </a:r>
            <a:r>
              <a:rPr lang="en-US" spc="-5" dirty="0"/>
              <a:t>e</a:t>
            </a:r>
            <a:r>
              <a:rPr lang="en-US" dirty="0"/>
              <a:t> </a:t>
            </a:r>
            <a:r>
              <a:rPr lang="en-US" spc="-10" dirty="0" err="1"/>
              <a:t>aktivitetit</a:t>
            </a:r>
            <a:r>
              <a:rPr lang="en-US" dirty="0"/>
              <a:t> </a:t>
            </a:r>
            <a:r>
              <a:rPr lang="en-US" spc="-5" dirty="0" err="1"/>
              <a:t>të</a:t>
            </a:r>
            <a:r>
              <a:rPr lang="en-US" spc="-10" dirty="0"/>
              <a:t> </a:t>
            </a:r>
            <a:r>
              <a:rPr lang="en-US" spc="-5" dirty="0" err="1"/>
              <a:t>Audituesit</a:t>
            </a:r>
            <a:r>
              <a:rPr lang="en-US" spc="15" dirty="0"/>
              <a:t> </a:t>
            </a:r>
            <a:r>
              <a:rPr lang="en-US" spc="-5" dirty="0" err="1"/>
              <a:t>të</a:t>
            </a:r>
            <a:r>
              <a:rPr lang="en-US" dirty="0"/>
              <a:t> </a:t>
            </a:r>
            <a:r>
              <a:rPr lang="en-US" spc="-5" dirty="0" err="1"/>
              <a:t>Brendshëm</a:t>
            </a:r>
            <a:endParaRPr spc="-5" dirty="0"/>
          </a:p>
        </p:txBody>
      </p:sp>
      <p:grpSp>
        <p:nvGrpSpPr>
          <p:cNvPr id="9" name="object 9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0" name="object 10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21</a:t>
            </a:fld>
            <a:endParaRPr dirty="0"/>
          </a:p>
        </p:txBody>
      </p:sp>
      <p:sp>
        <p:nvSpPr>
          <p:cNvPr id="15" name="Rectangle 14"/>
          <p:cNvSpPr/>
          <p:nvPr/>
        </p:nvSpPr>
        <p:spPr>
          <a:xfrm>
            <a:off x="442976" y="1056093"/>
            <a:ext cx="9421556" cy="46946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Aft>
                <a:spcPts val="800"/>
              </a:spcAft>
            </a:pPr>
            <a:r>
              <a:rPr lang="en-US" sz="2000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ivitetet</a:t>
            </a: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sz="2000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itjes</a:t>
            </a:r>
            <a:r>
              <a:rPr lang="en-US" sz="2000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en-US" sz="2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iviteti</a:t>
            </a: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itjes</a:t>
            </a: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e </a:t>
            </a:r>
            <a:r>
              <a:rPr lang="en-US" sz="2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dukteve</a:t>
            </a: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censuara</a:t>
            </a: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se</a:t>
            </a: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ejtohen</a:t>
            </a: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ga</a:t>
            </a: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partamenti </a:t>
            </a:r>
            <a:r>
              <a:rPr lang="en-US" sz="2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sz="20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20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itj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ytr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endr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il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axho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jitj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itje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h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g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hoert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gjent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dernjetes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j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cens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g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toritet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bikqyr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ancia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di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endshe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t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22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ivite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it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kus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ba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rkes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gj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F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bat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ullor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endshm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jistr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k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a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nes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ic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it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BA ,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ke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canerish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duk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ullneta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 Gat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22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ba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ullor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dhz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rd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trejtu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sig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dhu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logaritj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axh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isjon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it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istr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y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it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ic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onrtroll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it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s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olic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rodukt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TPL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arto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Jeshil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ufita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qende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eg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ry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lidhu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oh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rregjis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it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se polices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rogra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it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risq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q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eto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olic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mbart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.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ontroll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lisdhu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aktes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s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lotes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n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kety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olic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ategori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mje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n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je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erk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ipa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rregullor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s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dminist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menaxh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itj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vit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2022</a:t>
            </a:r>
            <a:endParaRPr lang="en-US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71244" y="1042416"/>
              <a:ext cx="541019" cy="449579"/>
            </a:xfrm>
            <a:prstGeom prst="rect">
              <a:avLst/>
            </a:prstGeom>
          </p:spPr>
        </p:pic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533400" y="77052"/>
            <a:ext cx="7329424" cy="87395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pc="-10" dirty="0" err="1"/>
              <a:t>Përmbledhje</a:t>
            </a:r>
            <a:r>
              <a:rPr lang="en-US" spc="15" dirty="0"/>
              <a:t> </a:t>
            </a:r>
            <a:r>
              <a:rPr lang="en-US" spc="-5" dirty="0"/>
              <a:t>e</a:t>
            </a:r>
            <a:r>
              <a:rPr lang="en-US" dirty="0"/>
              <a:t> </a:t>
            </a:r>
            <a:r>
              <a:rPr lang="en-US" spc="-10" dirty="0" err="1"/>
              <a:t>aktivitetit</a:t>
            </a:r>
            <a:r>
              <a:rPr lang="en-US" dirty="0"/>
              <a:t> </a:t>
            </a:r>
            <a:r>
              <a:rPr lang="en-US" spc="-5" dirty="0" err="1"/>
              <a:t>të</a:t>
            </a:r>
            <a:r>
              <a:rPr lang="en-US" spc="-10" dirty="0"/>
              <a:t> </a:t>
            </a:r>
            <a:r>
              <a:rPr lang="en-US" spc="-5" dirty="0" err="1"/>
              <a:t>Audituesit</a:t>
            </a:r>
            <a:r>
              <a:rPr lang="en-US" spc="15" dirty="0"/>
              <a:t> </a:t>
            </a:r>
            <a:r>
              <a:rPr lang="en-US" spc="-5" dirty="0" err="1"/>
              <a:t>të</a:t>
            </a:r>
            <a:r>
              <a:rPr lang="en-US" dirty="0"/>
              <a:t> </a:t>
            </a:r>
            <a:r>
              <a:rPr lang="en-US" spc="-5" dirty="0" err="1"/>
              <a:t>Brendshëm</a:t>
            </a:r>
            <a:endParaRPr spc="-5" dirty="0"/>
          </a:p>
        </p:txBody>
      </p:sp>
      <p:grpSp>
        <p:nvGrpSpPr>
          <p:cNvPr id="9" name="object 9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0" name="object 10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22</a:t>
            </a:fld>
            <a:endParaRPr dirty="0"/>
          </a:p>
        </p:txBody>
      </p:sp>
      <p:sp>
        <p:nvSpPr>
          <p:cNvPr id="12" name="Rectangle 11"/>
          <p:cNvSpPr/>
          <p:nvPr/>
        </p:nvSpPr>
        <p:spPr>
          <a:xfrm>
            <a:off x="515815" y="1176186"/>
            <a:ext cx="9249202" cy="5042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Aft>
                <a:spcPts val="800"/>
              </a:spcAft>
            </a:pP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ivitetet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jtimit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meve.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qen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ksion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j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axh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y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sig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G 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maInteralbania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G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fer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pani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erb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“</a:t>
            </a: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g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rvices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hqiperi”.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artamet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j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mev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dhu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naxhin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j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z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ba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gjislacion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q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egu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z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ba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ullor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dhez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F-se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ba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ullor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dhez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n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g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sig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G.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uk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bul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thuaj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jith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duk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pa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las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m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terial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omaterial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22.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j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kus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ces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ksper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leres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z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rkes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ullat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F-se.  Ja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hezgjatj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j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batim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fat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gj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ges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mshperbl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lien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z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rkes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ullor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AMF-s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ullor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endshm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artamen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mev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G.Servic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Ja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 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blematik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dhu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nksion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mires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zhdueshe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ormatik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BA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j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ktivitet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I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dminist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Financi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,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ontabilite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&amp;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Rapor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Financi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47331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71244" y="1042416"/>
              <a:ext cx="541019" cy="449579"/>
            </a:xfrm>
            <a:prstGeom prst="rect">
              <a:avLst/>
            </a:prstGeom>
          </p:spPr>
        </p:pic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533400" y="77052"/>
            <a:ext cx="7329424" cy="87395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pc="-10" dirty="0" err="1"/>
              <a:t>Përmbledhje</a:t>
            </a:r>
            <a:r>
              <a:rPr lang="en-US" spc="15" dirty="0"/>
              <a:t> </a:t>
            </a:r>
            <a:r>
              <a:rPr lang="en-US" spc="-5" dirty="0"/>
              <a:t>e</a:t>
            </a:r>
            <a:r>
              <a:rPr lang="en-US" dirty="0"/>
              <a:t> </a:t>
            </a:r>
            <a:r>
              <a:rPr lang="en-US" spc="-10" dirty="0" err="1"/>
              <a:t>aktivitetit</a:t>
            </a:r>
            <a:r>
              <a:rPr lang="en-US" dirty="0"/>
              <a:t> </a:t>
            </a:r>
            <a:r>
              <a:rPr lang="en-US" spc="-5" dirty="0" err="1"/>
              <a:t>të</a:t>
            </a:r>
            <a:r>
              <a:rPr lang="en-US" spc="-10" dirty="0"/>
              <a:t> </a:t>
            </a:r>
            <a:r>
              <a:rPr lang="en-US" spc="-5" dirty="0" err="1"/>
              <a:t>Audituesit</a:t>
            </a:r>
            <a:r>
              <a:rPr lang="en-US" spc="15" dirty="0"/>
              <a:t> </a:t>
            </a:r>
            <a:r>
              <a:rPr lang="en-US" spc="-5" dirty="0" err="1"/>
              <a:t>të</a:t>
            </a:r>
            <a:r>
              <a:rPr lang="en-US" dirty="0"/>
              <a:t> </a:t>
            </a:r>
            <a:r>
              <a:rPr lang="en-US" spc="-5" dirty="0" err="1"/>
              <a:t>Brendshëm</a:t>
            </a:r>
            <a:endParaRPr spc="-5" dirty="0"/>
          </a:p>
        </p:txBody>
      </p:sp>
      <p:grpSp>
        <p:nvGrpSpPr>
          <p:cNvPr id="9" name="object 9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0" name="object 10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23</a:t>
            </a:fld>
            <a:endParaRPr dirty="0"/>
          </a:p>
        </p:txBody>
      </p:sp>
      <p:sp>
        <p:nvSpPr>
          <p:cNvPr id="14" name="Rectangle 13"/>
          <p:cNvSpPr/>
          <p:nvPr/>
        </p:nvSpPr>
        <p:spPr>
          <a:xfrm>
            <a:off x="478887" y="1056093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ktiviteti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I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dministrimit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inanciar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rimeve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, 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Kontabilitetit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&amp;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Raportimit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inanciar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78886" y="1685316"/>
            <a:ext cx="11332113" cy="46823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Aft>
                <a:spcPts val="800"/>
              </a:spcAft>
            </a:pP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artamint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minist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anci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primtari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vet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yr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endr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pan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sig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G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ur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artament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abilite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por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anci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primtari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j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pani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erb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G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c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t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22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artament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minist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anaci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kus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ministr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ic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jith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ces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lo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ic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BA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ic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jistroj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g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artamrnt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it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g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gjen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,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yr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dermjetes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j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it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r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ke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kordim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kate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m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s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kontroll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t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22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e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,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por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ivel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olic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gjent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axh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ke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bitor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ventar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zik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t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jistr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BA 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ministrimin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ic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Ja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dhu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logaritj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ision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puthj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rdhr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endshm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rd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ejtor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ba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cedur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sh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ic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ublika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icave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ull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shrtr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kordim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g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artamen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gjen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g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dermjetes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j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it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dhu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m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ic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itu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ke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bitor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tje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epartament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ontabilite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Vig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Services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ontroll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fokus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lidhu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aktesi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regjistru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rogta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SAP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kr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rket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balanca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hapu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ebit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rim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095666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71244" y="1042416"/>
              <a:ext cx="541019" cy="449579"/>
            </a:xfrm>
            <a:prstGeom prst="rect">
              <a:avLst/>
            </a:prstGeom>
          </p:spPr>
        </p:pic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533400" y="77052"/>
            <a:ext cx="7329424" cy="87395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pc="-10" dirty="0" err="1"/>
              <a:t>Përmbledhje</a:t>
            </a:r>
            <a:r>
              <a:rPr lang="en-US" spc="15" dirty="0"/>
              <a:t> </a:t>
            </a:r>
            <a:r>
              <a:rPr lang="en-US" spc="-5" dirty="0"/>
              <a:t>e</a:t>
            </a:r>
            <a:r>
              <a:rPr lang="en-US" dirty="0"/>
              <a:t> </a:t>
            </a:r>
            <a:r>
              <a:rPr lang="en-US" spc="-10" dirty="0" err="1"/>
              <a:t>aktivitetit</a:t>
            </a:r>
            <a:r>
              <a:rPr lang="en-US" dirty="0"/>
              <a:t> </a:t>
            </a:r>
            <a:r>
              <a:rPr lang="en-US" spc="-5" dirty="0" err="1"/>
              <a:t>të</a:t>
            </a:r>
            <a:r>
              <a:rPr lang="en-US" spc="-10" dirty="0"/>
              <a:t> </a:t>
            </a:r>
            <a:r>
              <a:rPr lang="en-US" spc="-5" dirty="0" err="1"/>
              <a:t>Audituesit</a:t>
            </a:r>
            <a:r>
              <a:rPr lang="en-US" spc="15" dirty="0"/>
              <a:t> </a:t>
            </a:r>
            <a:r>
              <a:rPr lang="en-US" spc="-5" dirty="0" err="1"/>
              <a:t>të</a:t>
            </a:r>
            <a:r>
              <a:rPr lang="en-US" dirty="0"/>
              <a:t> </a:t>
            </a:r>
            <a:r>
              <a:rPr lang="en-US" spc="-5" dirty="0" err="1"/>
              <a:t>Brendshëm</a:t>
            </a:r>
            <a:endParaRPr spc="-5" dirty="0"/>
          </a:p>
        </p:txBody>
      </p:sp>
      <p:grpSp>
        <p:nvGrpSpPr>
          <p:cNvPr id="9" name="object 9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0" name="object 10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24</a:t>
            </a:fld>
            <a:endParaRPr dirty="0"/>
          </a:p>
        </p:txBody>
      </p:sp>
      <p:sp>
        <p:nvSpPr>
          <p:cNvPr id="14" name="Rectangle 13"/>
          <p:cNvSpPr/>
          <p:nvPr/>
        </p:nvSpPr>
        <p:spPr>
          <a:xfrm>
            <a:off x="478887" y="1056093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ktiviteti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I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Administrimit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inanciar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primeve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, 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Kontabilitetit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&amp;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Raportimit</a:t>
            </a:r>
            <a:r>
              <a:rPr lang="en-US" b="1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Financiar</a:t>
            </a:r>
            <a:endParaRPr lang="en-US" b="1" dirty="0">
              <a:solidFill>
                <a:srgbClr val="FF0000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28600" y="1859340"/>
            <a:ext cx="10210800" cy="1920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Aft>
                <a:spcPts val="800"/>
              </a:spcAft>
            </a:pP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 pa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ket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ivel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pani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g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gjent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dermjetes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j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it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Ja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kordim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uj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jet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ill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g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artament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abilite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por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naci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G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c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artament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minist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sig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kordim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h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ahas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n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egues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port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AP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n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egues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port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BA.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g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oll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zult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n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rrek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nenshkr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g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son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gjeg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yj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l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74334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71244" y="1042416"/>
              <a:ext cx="541019" cy="449579"/>
            </a:xfrm>
            <a:prstGeom prst="rect">
              <a:avLst/>
            </a:prstGeom>
          </p:spPr>
        </p:pic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533400" y="136266"/>
            <a:ext cx="7329424" cy="87395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pc="-10" dirty="0" err="1"/>
              <a:t>Përmbledhje</a:t>
            </a:r>
            <a:r>
              <a:rPr lang="en-US" spc="15" dirty="0"/>
              <a:t> </a:t>
            </a:r>
            <a:r>
              <a:rPr lang="en-US" spc="-5" dirty="0"/>
              <a:t>e</a:t>
            </a:r>
            <a:r>
              <a:rPr lang="en-US" dirty="0"/>
              <a:t> </a:t>
            </a:r>
            <a:r>
              <a:rPr lang="en-US" spc="-10" dirty="0" err="1"/>
              <a:t>aktivitetit</a:t>
            </a:r>
            <a:r>
              <a:rPr lang="en-US" dirty="0"/>
              <a:t> </a:t>
            </a:r>
            <a:r>
              <a:rPr lang="en-US" spc="-5" dirty="0" err="1"/>
              <a:t>të</a:t>
            </a:r>
            <a:r>
              <a:rPr lang="en-US" spc="-10" dirty="0"/>
              <a:t> </a:t>
            </a:r>
            <a:r>
              <a:rPr lang="en-US" spc="-5" dirty="0" err="1"/>
              <a:t>Audituesit</a:t>
            </a:r>
            <a:r>
              <a:rPr lang="en-US" spc="15" dirty="0"/>
              <a:t> </a:t>
            </a:r>
            <a:r>
              <a:rPr lang="en-US" spc="-5" dirty="0" err="1"/>
              <a:t>të</a:t>
            </a:r>
            <a:r>
              <a:rPr lang="en-US" dirty="0"/>
              <a:t> </a:t>
            </a:r>
            <a:r>
              <a:rPr lang="en-US" spc="-5" dirty="0" err="1"/>
              <a:t>Brendshëm</a:t>
            </a:r>
            <a:endParaRPr spc="-5" dirty="0"/>
          </a:p>
        </p:txBody>
      </p:sp>
      <p:grpSp>
        <p:nvGrpSpPr>
          <p:cNvPr id="9" name="object 9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0" name="object 10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25</a:t>
            </a:fld>
            <a:endParaRPr dirty="0"/>
          </a:p>
        </p:txBody>
      </p:sp>
      <p:sp>
        <p:nvSpPr>
          <p:cNvPr id="15" name="Rectangle 14"/>
          <p:cNvSpPr/>
          <p:nvPr/>
        </p:nvSpPr>
        <p:spPr>
          <a:xfrm>
            <a:off x="381000" y="1029336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</a:rPr>
              <a:t>Aktivitetet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</a:rPr>
              <a:t>Marrjes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</a:rPr>
              <a:t>Sigurim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</a:rPr>
              <a:t>Menaxhimit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</a:rPr>
              <a:t>Rriskut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362042" y="1595248"/>
            <a:ext cx="10229757" cy="41560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Aft>
                <a:spcPts val="800"/>
              </a:spcAft>
            </a:pP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ivitet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to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y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artamen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h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sish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rj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dukt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ullneta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n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gjegjesi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aranci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je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ja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dhu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n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iz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lien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shkr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iz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n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egues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j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r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cak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isq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do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roduct, prone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gjegje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je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do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a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kt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eroll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dhu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otes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mular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kumentascion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r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jistr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po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otesim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BA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kumenta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s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r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z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ullor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emdshm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r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   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0000"/>
              </a:lnSpc>
              <a:spcAft>
                <a:spcPts val="800"/>
              </a:spcAft>
            </a:pP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iz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leresim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axim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isku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h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g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itet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axh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isku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do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s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pa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mit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um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r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ivel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ra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itet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axh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isku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, ben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leres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isku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ga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ert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ler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rj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z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ullor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endshm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rdher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dhezim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rd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ejtu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200086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71244" y="1042416"/>
              <a:ext cx="541019" cy="449579"/>
            </a:xfrm>
            <a:prstGeom prst="rect">
              <a:avLst/>
            </a:prstGeom>
          </p:spPr>
        </p:pic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533400" y="136266"/>
            <a:ext cx="7329424" cy="87395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pc="-10" dirty="0" err="1"/>
              <a:t>Përmbledhje</a:t>
            </a:r>
            <a:r>
              <a:rPr lang="en-US" spc="15" dirty="0"/>
              <a:t> </a:t>
            </a:r>
            <a:r>
              <a:rPr lang="en-US" spc="-5" dirty="0"/>
              <a:t>e</a:t>
            </a:r>
            <a:r>
              <a:rPr lang="en-US" dirty="0"/>
              <a:t> </a:t>
            </a:r>
            <a:r>
              <a:rPr lang="en-US" spc="-10" dirty="0" err="1"/>
              <a:t>aktivitetit</a:t>
            </a:r>
            <a:r>
              <a:rPr lang="en-US" dirty="0"/>
              <a:t> </a:t>
            </a:r>
            <a:r>
              <a:rPr lang="en-US" spc="-5" dirty="0" err="1"/>
              <a:t>të</a:t>
            </a:r>
            <a:r>
              <a:rPr lang="en-US" spc="-10" dirty="0"/>
              <a:t> </a:t>
            </a:r>
            <a:r>
              <a:rPr lang="en-US" spc="-5" dirty="0" err="1"/>
              <a:t>Audituesit</a:t>
            </a:r>
            <a:r>
              <a:rPr lang="en-US" spc="15" dirty="0"/>
              <a:t> </a:t>
            </a:r>
            <a:r>
              <a:rPr lang="en-US" spc="-5" dirty="0" err="1"/>
              <a:t>të</a:t>
            </a:r>
            <a:r>
              <a:rPr lang="en-US" dirty="0"/>
              <a:t> </a:t>
            </a:r>
            <a:r>
              <a:rPr lang="en-US" spc="-5" dirty="0" err="1"/>
              <a:t>Brendshëm</a:t>
            </a:r>
            <a:endParaRPr spc="-5" dirty="0"/>
          </a:p>
        </p:txBody>
      </p:sp>
      <p:grpSp>
        <p:nvGrpSpPr>
          <p:cNvPr id="9" name="object 9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0" name="object 10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26</a:t>
            </a:fld>
            <a:endParaRPr dirty="0"/>
          </a:p>
        </p:txBody>
      </p:sp>
      <p:sp>
        <p:nvSpPr>
          <p:cNvPr id="15" name="Rectangle 14"/>
          <p:cNvSpPr/>
          <p:nvPr/>
        </p:nvSpPr>
        <p:spPr>
          <a:xfrm>
            <a:off x="381000" y="1029336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err="1"/>
              <a:t>Departamrnti</a:t>
            </a:r>
            <a:r>
              <a:rPr lang="en-US" b="1" dirty="0"/>
              <a:t> </a:t>
            </a:r>
            <a:r>
              <a:rPr lang="en-US" b="1" dirty="0" err="1"/>
              <a:t>i</a:t>
            </a:r>
            <a:r>
              <a:rPr lang="en-US" b="1" dirty="0"/>
              <a:t> </a:t>
            </a:r>
            <a:r>
              <a:rPr lang="en-US" b="1" dirty="0" err="1"/>
              <a:t>Risigurimeve</a:t>
            </a:r>
            <a:r>
              <a:rPr lang="en-US" b="1" dirty="0"/>
              <a:t> 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77615" y="1457391"/>
            <a:ext cx="10185274" cy="35466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Aft>
                <a:spcPts val="800"/>
              </a:spcAft>
            </a:pP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artamrnti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sigurimeve</a:t>
            </a:r>
            <a:r>
              <a:rPr lang="en-US" b="1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uksion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ij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erb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y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sig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G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igma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albania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G.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tner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so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ivitet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sigu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h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G-R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il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sh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je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Vienna Insurance Group.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primtari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ces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n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h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g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y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partamen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ull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z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gj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r. 52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ë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2.05.2014, “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primtari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sigur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”,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MF-se.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z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litik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regullor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up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VIG .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partamenti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isigurimev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a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er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bjek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ryerjen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isigurimev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hoqeris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ersig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VIG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h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ergatitjen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aportev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per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idhjen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reveshjev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isigurimi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ntrollin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ushtev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ntratav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isigurimi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ben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rmonizimei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tyr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ushteve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me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rkesa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e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regut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okal</a:t>
            </a: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ne Shqiperi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0000"/>
              </a:lnSpc>
              <a:spcAft>
                <a:spcPts val="800"/>
              </a:spcAft>
            </a:pP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m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t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22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sish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ra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mi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d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sigu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pani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rup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ku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en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je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hoqeri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tersig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sigurues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-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sh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Security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s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rveshj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sigu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kultati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Fronting.</a:t>
            </a: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534025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71244" y="1042416"/>
              <a:ext cx="541019" cy="449579"/>
            </a:xfrm>
            <a:prstGeom prst="rect">
              <a:avLst/>
            </a:prstGeom>
          </p:spPr>
        </p:pic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533400" y="136266"/>
            <a:ext cx="7329424" cy="87395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lang="en-US" spc="-10" dirty="0" err="1"/>
              <a:t>Përmbledhje</a:t>
            </a:r>
            <a:r>
              <a:rPr lang="en-US" spc="15" dirty="0"/>
              <a:t> </a:t>
            </a:r>
            <a:r>
              <a:rPr lang="en-US" spc="-5" dirty="0"/>
              <a:t>e</a:t>
            </a:r>
            <a:r>
              <a:rPr lang="en-US" dirty="0"/>
              <a:t> </a:t>
            </a:r>
            <a:r>
              <a:rPr lang="en-US" spc="-10" dirty="0" err="1"/>
              <a:t>aktivitetit</a:t>
            </a:r>
            <a:r>
              <a:rPr lang="en-US" dirty="0"/>
              <a:t> </a:t>
            </a:r>
            <a:r>
              <a:rPr lang="en-US" spc="-5" dirty="0" err="1"/>
              <a:t>të</a:t>
            </a:r>
            <a:r>
              <a:rPr lang="en-US" spc="-10" dirty="0"/>
              <a:t> </a:t>
            </a:r>
            <a:r>
              <a:rPr lang="en-US" spc="-5" dirty="0" err="1"/>
              <a:t>Audituesit</a:t>
            </a:r>
            <a:r>
              <a:rPr lang="en-US" spc="15" dirty="0"/>
              <a:t> </a:t>
            </a:r>
            <a:r>
              <a:rPr lang="en-US" spc="-5" dirty="0" err="1"/>
              <a:t>të</a:t>
            </a:r>
            <a:r>
              <a:rPr lang="en-US" dirty="0"/>
              <a:t> </a:t>
            </a:r>
            <a:r>
              <a:rPr lang="en-US" spc="-5" dirty="0" err="1"/>
              <a:t>Brendshëm</a:t>
            </a:r>
            <a:endParaRPr spc="-5" dirty="0"/>
          </a:p>
        </p:txBody>
      </p:sp>
      <p:grpSp>
        <p:nvGrpSpPr>
          <p:cNvPr id="9" name="object 9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0" name="object 10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27</a:t>
            </a:fld>
            <a:endParaRPr dirty="0"/>
          </a:p>
        </p:txBody>
      </p:sp>
      <p:sp>
        <p:nvSpPr>
          <p:cNvPr id="15" name="Rectangle 14"/>
          <p:cNvSpPr/>
          <p:nvPr/>
        </p:nvSpPr>
        <p:spPr>
          <a:xfrm>
            <a:off x="381000" y="1029336"/>
            <a:ext cx="6096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 smtClean="0"/>
              <a:t>Departamenti </a:t>
            </a:r>
            <a:r>
              <a:rPr lang="en-US" b="1" dirty="0" err="1" smtClean="0"/>
              <a:t>Ligjor</a:t>
            </a:r>
            <a:endParaRPr lang="en-US" dirty="0"/>
          </a:p>
        </p:txBody>
      </p:sp>
      <p:sp>
        <p:nvSpPr>
          <p:cNvPr id="14" name="Rectangle 13"/>
          <p:cNvSpPr/>
          <p:nvPr/>
        </p:nvSpPr>
        <p:spPr>
          <a:xfrm>
            <a:off x="563954" y="1448446"/>
            <a:ext cx="926584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ontroll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rye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ng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udit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Brendshe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ktivite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juridik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gja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vi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2022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fokus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erfaqes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mbrojt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roces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gjyqes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al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ret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lidhu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m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rajt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e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asur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jo-pasuro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to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fond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ompens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.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Gjithashtu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gat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vit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2022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ontroll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be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lidhu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zgjidj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Marreveshj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roble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lien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ndyshe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u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elemin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vajt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zgjidhe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me process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Gjyqeso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ceshtj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.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Gjithashtu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je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aktivitet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juridik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ndjekj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mbeshtetj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grumbull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paarket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ng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klien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subjek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</a:rPr>
              <a:t>debito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34167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7" name="object 7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71244" y="1042416"/>
              <a:ext cx="541019" cy="449579"/>
            </a:xfrm>
            <a:prstGeom prst="rect">
              <a:avLst/>
            </a:prstGeom>
          </p:spPr>
        </p:pic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533400" y="136266"/>
            <a:ext cx="7329424" cy="87395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r>
              <a:rPr lang="en-US" b="1" dirty="0" err="1"/>
              <a:t>Opinioni</a:t>
            </a:r>
            <a:r>
              <a:rPr lang="en-US" b="1" dirty="0"/>
              <a:t> </a:t>
            </a:r>
            <a:r>
              <a:rPr lang="en-US" b="1" dirty="0" err="1"/>
              <a:t>i</a:t>
            </a:r>
            <a:r>
              <a:rPr lang="en-US" b="1" dirty="0"/>
              <a:t> </a:t>
            </a:r>
            <a:r>
              <a:rPr lang="en-US" b="1" dirty="0" err="1"/>
              <a:t>shkurtuar</a:t>
            </a:r>
            <a:r>
              <a:rPr lang="en-US" b="1" dirty="0"/>
              <a:t> </a:t>
            </a:r>
            <a:r>
              <a:rPr lang="en-US" b="1" dirty="0" err="1"/>
              <a:t>i</a:t>
            </a:r>
            <a:r>
              <a:rPr lang="en-US" b="1" dirty="0"/>
              <a:t> </a:t>
            </a:r>
            <a:r>
              <a:rPr lang="en-US" b="1" dirty="0" err="1"/>
              <a:t>Auditit</a:t>
            </a:r>
            <a:r>
              <a:rPr lang="en-US" b="1" dirty="0"/>
              <a:t> </a:t>
            </a:r>
            <a:r>
              <a:rPr lang="en-US" b="1" dirty="0" err="1"/>
              <a:t>te</a:t>
            </a:r>
            <a:r>
              <a:rPr lang="en-US" b="1" dirty="0"/>
              <a:t> </a:t>
            </a:r>
            <a:r>
              <a:rPr lang="en-US" b="1" dirty="0" err="1"/>
              <a:t>Brendshem</a:t>
            </a:r>
            <a:r>
              <a:rPr lang="en-US" b="1" dirty="0"/>
              <a:t> per </a:t>
            </a:r>
            <a:r>
              <a:rPr lang="en-US" b="1" dirty="0" err="1"/>
              <a:t>vitin</a:t>
            </a:r>
            <a:r>
              <a:rPr lang="en-US" b="1" dirty="0"/>
              <a:t> 2022 </a:t>
            </a:r>
          </a:p>
        </p:txBody>
      </p:sp>
      <p:grpSp>
        <p:nvGrpSpPr>
          <p:cNvPr id="9" name="object 9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0" name="object 10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28</a:t>
            </a:fld>
            <a:endParaRPr dirty="0"/>
          </a:p>
        </p:txBody>
      </p:sp>
      <p:sp>
        <p:nvSpPr>
          <p:cNvPr id="14" name="Rectangle 13"/>
          <p:cNvSpPr/>
          <p:nvPr/>
        </p:nvSpPr>
        <p:spPr>
          <a:xfrm>
            <a:off x="563954" y="1448446"/>
            <a:ext cx="926584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651502" y="1156560"/>
            <a:ext cx="9178298" cy="48197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0000"/>
              </a:lnSpc>
              <a:spcAft>
                <a:spcPts val="900"/>
              </a:spcAft>
            </a:pP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ditim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roll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endshm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aliz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ja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22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bul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jith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ivite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puthj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an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jeto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di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gazhim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ditue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aliz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jetj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komandim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kate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ila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sqyr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apor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dit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rg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rd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ejtu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TERSIG VIG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y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mbledhu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shill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bikqyres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j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0000"/>
              </a:lnSpc>
              <a:spcAft>
                <a:spcPts val="900"/>
              </a:spcAft>
            </a:pP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ny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zhdueshm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partamenti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di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ë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endshë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nitor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kument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alizim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komand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ë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iratua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h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tus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fundimt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realizim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yr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0000"/>
              </a:lnSpc>
              <a:spcAft>
                <a:spcPts val="900"/>
              </a:spcAft>
            </a:pP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zua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zulta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dit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ra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ja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dit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endshem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preh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rsyeshm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q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ktivitete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hoqeris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TERSIG VIG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ja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itit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022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ye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rputhj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ot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uadri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gjor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er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egun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 </a:t>
            </a:r>
            <a:r>
              <a:rPr lang="en-US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gurimeve</a:t>
            </a:r>
            <a:r>
              <a:rPr lang="en-US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ne Shqiperi. </a:t>
            </a:r>
            <a:endParaRPr lang="en-US" dirty="0" smtClean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10000"/>
              </a:lnSpc>
              <a:spcAft>
                <a:spcPts val="900"/>
              </a:spcAft>
            </a:pPr>
            <a:r>
              <a:rPr lang="en-US" dirty="0" err="1"/>
              <a:t>Theksojme</a:t>
            </a:r>
            <a:r>
              <a:rPr lang="en-US" dirty="0"/>
              <a:t> se ne </a:t>
            </a:r>
            <a:r>
              <a:rPr lang="en-US" dirty="0" err="1"/>
              <a:t>angazhimet</a:t>
            </a:r>
            <a:r>
              <a:rPr lang="en-US" dirty="0"/>
              <a:t> </a:t>
            </a:r>
            <a:r>
              <a:rPr lang="en-US" dirty="0" err="1"/>
              <a:t>tona</a:t>
            </a:r>
            <a:r>
              <a:rPr lang="en-US" dirty="0"/>
              <a:t> </a:t>
            </a:r>
            <a:r>
              <a:rPr lang="en-US" dirty="0" err="1"/>
              <a:t>audituese</a:t>
            </a:r>
            <a:r>
              <a:rPr lang="en-US" dirty="0"/>
              <a:t> </a:t>
            </a:r>
            <a:r>
              <a:rPr lang="en-US" dirty="0" err="1"/>
              <a:t>gjate</a:t>
            </a:r>
            <a:r>
              <a:rPr lang="en-US" dirty="0"/>
              <a:t> </a:t>
            </a:r>
            <a:r>
              <a:rPr lang="en-US" dirty="0" err="1"/>
              <a:t>vitit</a:t>
            </a:r>
            <a:r>
              <a:rPr lang="en-US" dirty="0"/>
              <a:t> 2022 </a:t>
            </a:r>
            <a:r>
              <a:rPr lang="en-US" b="1" dirty="0" err="1"/>
              <a:t>nuk</a:t>
            </a:r>
            <a:r>
              <a:rPr lang="en-US" b="1" dirty="0"/>
              <a:t> </a:t>
            </a:r>
            <a:r>
              <a:rPr lang="en-US" dirty="0" err="1"/>
              <a:t>janë</a:t>
            </a:r>
            <a:r>
              <a:rPr lang="en-US" dirty="0"/>
              <a:t> </a:t>
            </a:r>
            <a:r>
              <a:rPr lang="en-US" dirty="0" err="1"/>
              <a:t>evidentuar</a:t>
            </a:r>
            <a:r>
              <a:rPr lang="en-US" dirty="0"/>
              <a:t> </a:t>
            </a:r>
            <a:r>
              <a:rPr lang="en-US" dirty="0" err="1"/>
              <a:t>gjetje</a:t>
            </a:r>
            <a:r>
              <a:rPr lang="en-US" dirty="0"/>
              <a:t> </a:t>
            </a:r>
            <a:r>
              <a:rPr lang="en-US" dirty="0" err="1"/>
              <a:t>kritike</a:t>
            </a:r>
            <a:r>
              <a:rPr lang="en-US" dirty="0"/>
              <a:t> </a:t>
            </a:r>
            <a:r>
              <a:rPr lang="en-US" dirty="0" err="1"/>
              <a:t>ose</a:t>
            </a:r>
            <a:r>
              <a:rPr lang="en-US" dirty="0"/>
              <a:t> </a:t>
            </a:r>
            <a:r>
              <a:rPr lang="en-US" dirty="0" err="1"/>
              <a:t>gabime</a:t>
            </a:r>
            <a:r>
              <a:rPr lang="en-US" dirty="0"/>
              <a:t> </a:t>
            </a:r>
            <a:r>
              <a:rPr lang="en-US" dirty="0" err="1"/>
              <a:t>materiale</a:t>
            </a:r>
            <a:r>
              <a:rPr lang="en-US" dirty="0"/>
              <a:t>,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cilat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kene</a:t>
            </a:r>
            <a:r>
              <a:rPr lang="en-US" dirty="0"/>
              <a:t> </a:t>
            </a:r>
            <a:r>
              <a:rPr lang="en-US" dirty="0" err="1"/>
              <a:t>nje</a:t>
            </a:r>
            <a:r>
              <a:rPr lang="en-US" dirty="0"/>
              <a:t> </a:t>
            </a:r>
            <a:r>
              <a:rPr lang="en-US" dirty="0" err="1"/>
              <a:t>impakt</a:t>
            </a:r>
            <a:r>
              <a:rPr lang="en-US" dirty="0"/>
              <a:t> </a:t>
            </a:r>
            <a:r>
              <a:rPr lang="en-US" dirty="0" err="1"/>
              <a:t>domethenes</a:t>
            </a:r>
            <a:r>
              <a:rPr lang="en-US" dirty="0"/>
              <a:t> </a:t>
            </a:r>
            <a:r>
              <a:rPr lang="en-US" dirty="0" err="1"/>
              <a:t>në</a:t>
            </a:r>
            <a:r>
              <a:rPr lang="en-US" dirty="0"/>
              <a:t> </a:t>
            </a:r>
            <a:r>
              <a:rPr lang="en-US" dirty="0" err="1"/>
              <a:t>aktivitetin</a:t>
            </a:r>
            <a:r>
              <a:rPr lang="en-US" dirty="0"/>
              <a:t> e </a:t>
            </a:r>
            <a:r>
              <a:rPr lang="en-US" dirty="0" err="1"/>
              <a:t>shoqerise</a:t>
            </a:r>
            <a:r>
              <a:rPr lang="en-US" dirty="0"/>
              <a:t>.</a:t>
            </a:r>
          </a:p>
          <a:p>
            <a:pPr algn="just">
              <a:lnSpc>
                <a:spcPct val="110000"/>
              </a:lnSpc>
              <a:spcAft>
                <a:spcPts val="900"/>
              </a:spcAft>
            </a:pPr>
            <a:endParaRPr lang="en-US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793274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object 3"/>
          <p:cNvGrpSpPr/>
          <p:nvPr/>
        </p:nvGrpSpPr>
        <p:grpSpPr>
          <a:xfrm>
            <a:off x="0" y="17"/>
            <a:ext cx="12192315" cy="6858507"/>
            <a:chOff x="0" y="17"/>
            <a:chExt cx="12192315" cy="6858507"/>
          </a:xfrm>
        </p:grpSpPr>
        <p:sp>
          <p:nvSpPr>
            <p:cNvPr id="4" name="object 4"/>
            <p:cNvSpPr/>
            <p:nvPr/>
          </p:nvSpPr>
          <p:spPr>
            <a:xfrm>
              <a:off x="0" y="961644"/>
              <a:ext cx="12192000" cy="45720"/>
            </a:xfrm>
            <a:custGeom>
              <a:avLst/>
              <a:gdLst/>
              <a:ahLst/>
              <a:cxnLst/>
              <a:rect l="l" t="t" r="r" b="b"/>
              <a:pathLst>
                <a:path w="12192000" h="45719">
                  <a:moveTo>
                    <a:pt x="12192000" y="0"/>
                  </a:moveTo>
                  <a:lnTo>
                    <a:pt x="0" y="0"/>
                  </a:lnTo>
                  <a:lnTo>
                    <a:pt x="0" y="45720"/>
                  </a:lnTo>
                  <a:lnTo>
                    <a:pt x="12192000" y="45720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000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10690947" y="17"/>
              <a:ext cx="1501140" cy="6858000"/>
            </a:xfrm>
            <a:custGeom>
              <a:avLst/>
              <a:gdLst/>
              <a:ahLst/>
              <a:cxnLst/>
              <a:rect l="l" t="t" r="r" b="b"/>
              <a:pathLst>
                <a:path w="1501140" h="6858000">
                  <a:moveTo>
                    <a:pt x="1501027" y="0"/>
                  </a:moveTo>
                  <a:lnTo>
                    <a:pt x="0" y="0"/>
                  </a:lnTo>
                  <a:lnTo>
                    <a:pt x="4844" y="10049"/>
                  </a:lnTo>
                  <a:lnTo>
                    <a:pt x="24411" y="51418"/>
                  </a:lnTo>
                  <a:lnTo>
                    <a:pt x="43800" y="93196"/>
                  </a:lnTo>
                  <a:lnTo>
                    <a:pt x="63012" y="135384"/>
                  </a:lnTo>
                  <a:lnTo>
                    <a:pt x="82046" y="177979"/>
                  </a:lnTo>
                  <a:lnTo>
                    <a:pt x="100900" y="220980"/>
                  </a:lnTo>
                  <a:lnTo>
                    <a:pt x="119576" y="264384"/>
                  </a:lnTo>
                  <a:lnTo>
                    <a:pt x="138071" y="308191"/>
                  </a:lnTo>
                  <a:lnTo>
                    <a:pt x="156387" y="352399"/>
                  </a:lnTo>
                  <a:lnTo>
                    <a:pt x="174521" y="397006"/>
                  </a:lnTo>
                  <a:lnTo>
                    <a:pt x="192474" y="442010"/>
                  </a:lnTo>
                  <a:lnTo>
                    <a:pt x="210244" y="487409"/>
                  </a:lnTo>
                  <a:lnTo>
                    <a:pt x="227832" y="533203"/>
                  </a:lnTo>
                  <a:lnTo>
                    <a:pt x="245238" y="579389"/>
                  </a:lnTo>
                  <a:lnTo>
                    <a:pt x="262459" y="625967"/>
                  </a:lnTo>
                  <a:lnTo>
                    <a:pt x="279496" y="672933"/>
                  </a:lnTo>
                  <a:lnTo>
                    <a:pt x="296349" y="720286"/>
                  </a:lnTo>
                  <a:lnTo>
                    <a:pt x="313016" y="768026"/>
                  </a:lnTo>
                  <a:lnTo>
                    <a:pt x="329497" y="816149"/>
                  </a:lnTo>
                  <a:lnTo>
                    <a:pt x="345792" y="864655"/>
                  </a:lnTo>
                  <a:lnTo>
                    <a:pt x="361900" y="913542"/>
                  </a:lnTo>
                  <a:lnTo>
                    <a:pt x="377821" y="962809"/>
                  </a:lnTo>
                  <a:lnTo>
                    <a:pt x="393554" y="1012452"/>
                  </a:lnTo>
                  <a:lnTo>
                    <a:pt x="409098" y="1062472"/>
                  </a:lnTo>
                  <a:lnTo>
                    <a:pt x="424453" y="1112866"/>
                  </a:lnTo>
                  <a:lnTo>
                    <a:pt x="439618" y="1163632"/>
                  </a:lnTo>
                  <a:lnTo>
                    <a:pt x="454594" y="1214770"/>
                  </a:lnTo>
                  <a:lnTo>
                    <a:pt x="469378" y="1266276"/>
                  </a:lnTo>
                  <a:lnTo>
                    <a:pt x="483972" y="1318150"/>
                  </a:lnTo>
                  <a:lnTo>
                    <a:pt x="498373" y="1370391"/>
                  </a:lnTo>
                  <a:lnTo>
                    <a:pt x="512582" y="1422995"/>
                  </a:lnTo>
                  <a:lnTo>
                    <a:pt x="526599" y="1475963"/>
                  </a:lnTo>
                  <a:lnTo>
                    <a:pt x="540422" y="1529291"/>
                  </a:lnTo>
                  <a:lnTo>
                    <a:pt x="554051" y="1582978"/>
                  </a:lnTo>
                  <a:lnTo>
                    <a:pt x="567485" y="1637024"/>
                  </a:lnTo>
                  <a:lnTo>
                    <a:pt x="580725" y="1691425"/>
                  </a:lnTo>
                  <a:lnTo>
                    <a:pt x="593769" y="1746181"/>
                  </a:lnTo>
                  <a:lnTo>
                    <a:pt x="606617" y="1801290"/>
                  </a:lnTo>
                  <a:lnTo>
                    <a:pt x="619268" y="1856749"/>
                  </a:lnTo>
                  <a:lnTo>
                    <a:pt x="631722" y="1912558"/>
                  </a:lnTo>
                  <a:lnTo>
                    <a:pt x="641716" y="1958185"/>
                  </a:lnTo>
                  <a:lnTo>
                    <a:pt x="651583" y="2004059"/>
                  </a:lnTo>
                  <a:lnTo>
                    <a:pt x="661322" y="2050177"/>
                  </a:lnTo>
                  <a:lnTo>
                    <a:pt x="670933" y="2096538"/>
                  </a:lnTo>
                  <a:lnTo>
                    <a:pt x="680416" y="2143140"/>
                  </a:lnTo>
                  <a:lnTo>
                    <a:pt x="689771" y="2189982"/>
                  </a:lnTo>
                  <a:lnTo>
                    <a:pt x="698997" y="2237062"/>
                  </a:lnTo>
                  <a:lnTo>
                    <a:pt x="708095" y="2284379"/>
                  </a:lnTo>
                  <a:lnTo>
                    <a:pt x="717063" y="2331930"/>
                  </a:lnTo>
                  <a:lnTo>
                    <a:pt x="725903" y="2379714"/>
                  </a:lnTo>
                  <a:lnTo>
                    <a:pt x="734613" y="2427729"/>
                  </a:lnTo>
                  <a:lnTo>
                    <a:pt x="743194" y="2475974"/>
                  </a:lnTo>
                  <a:lnTo>
                    <a:pt x="751645" y="2524447"/>
                  </a:lnTo>
                  <a:lnTo>
                    <a:pt x="759967" y="2573146"/>
                  </a:lnTo>
                  <a:lnTo>
                    <a:pt x="768158" y="2622069"/>
                  </a:lnTo>
                  <a:lnTo>
                    <a:pt x="776219" y="2671215"/>
                  </a:lnTo>
                  <a:lnTo>
                    <a:pt x="784150" y="2720582"/>
                  </a:lnTo>
                  <a:lnTo>
                    <a:pt x="791950" y="2770169"/>
                  </a:lnTo>
                  <a:lnTo>
                    <a:pt x="799619" y="2819974"/>
                  </a:lnTo>
                  <a:lnTo>
                    <a:pt x="807157" y="2869994"/>
                  </a:lnTo>
                  <a:lnTo>
                    <a:pt x="814564" y="2920229"/>
                  </a:lnTo>
                  <a:lnTo>
                    <a:pt x="821840" y="2970677"/>
                  </a:lnTo>
                  <a:lnTo>
                    <a:pt x="828984" y="3021336"/>
                  </a:lnTo>
                  <a:lnTo>
                    <a:pt x="835997" y="3072204"/>
                  </a:lnTo>
                  <a:lnTo>
                    <a:pt x="842877" y="3123279"/>
                  </a:lnTo>
                  <a:lnTo>
                    <a:pt x="849625" y="3174561"/>
                  </a:lnTo>
                  <a:lnTo>
                    <a:pt x="856241" y="3226047"/>
                  </a:lnTo>
                  <a:lnTo>
                    <a:pt x="862725" y="3277735"/>
                  </a:lnTo>
                  <a:lnTo>
                    <a:pt x="869075" y="3329625"/>
                  </a:lnTo>
                  <a:lnTo>
                    <a:pt x="875293" y="3381713"/>
                  </a:lnTo>
                  <a:lnTo>
                    <a:pt x="881378" y="3434000"/>
                  </a:lnTo>
                  <a:lnTo>
                    <a:pt x="887329" y="3486482"/>
                  </a:lnTo>
                  <a:lnTo>
                    <a:pt x="893147" y="3539158"/>
                  </a:lnTo>
                  <a:lnTo>
                    <a:pt x="898832" y="3592026"/>
                  </a:lnTo>
                  <a:lnTo>
                    <a:pt x="904382" y="3645086"/>
                  </a:lnTo>
                  <a:lnTo>
                    <a:pt x="909798" y="3698334"/>
                  </a:lnTo>
                  <a:lnTo>
                    <a:pt x="915080" y="3751770"/>
                  </a:lnTo>
                  <a:lnTo>
                    <a:pt x="920228" y="3805391"/>
                  </a:lnTo>
                  <a:lnTo>
                    <a:pt x="925241" y="3859197"/>
                  </a:lnTo>
                  <a:lnTo>
                    <a:pt x="930119" y="3913185"/>
                  </a:lnTo>
                  <a:lnTo>
                    <a:pt x="934862" y="3967354"/>
                  </a:lnTo>
                  <a:lnTo>
                    <a:pt x="939470" y="4021701"/>
                  </a:lnTo>
                  <a:lnTo>
                    <a:pt x="945436" y="4095186"/>
                  </a:lnTo>
                  <a:lnTo>
                    <a:pt x="951096" y="4168232"/>
                  </a:lnTo>
                  <a:lnTo>
                    <a:pt x="956457" y="4240816"/>
                  </a:lnTo>
                  <a:lnTo>
                    <a:pt x="961525" y="4312917"/>
                  </a:lnTo>
                  <a:lnTo>
                    <a:pt x="966306" y="4384512"/>
                  </a:lnTo>
                  <a:lnTo>
                    <a:pt x="970809" y="4455579"/>
                  </a:lnTo>
                  <a:lnTo>
                    <a:pt x="975038" y="4526097"/>
                  </a:lnTo>
                  <a:lnTo>
                    <a:pt x="979002" y="4596043"/>
                  </a:lnTo>
                  <a:lnTo>
                    <a:pt x="982707" y="4665394"/>
                  </a:lnTo>
                  <a:lnTo>
                    <a:pt x="986160" y="4734130"/>
                  </a:lnTo>
                  <a:lnTo>
                    <a:pt x="989367" y="4802227"/>
                  </a:lnTo>
                  <a:lnTo>
                    <a:pt x="992335" y="4869664"/>
                  </a:lnTo>
                  <a:lnTo>
                    <a:pt x="995071" y="4936419"/>
                  </a:lnTo>
                  <a:lnTo>
                    <a:pt x="997581" y="5002469"/>
                  </a:lnTo>
                  <a:lnTo>
                    <a:pt x="999873" y="5067792"/>
                  </a:lnTo>
                  <a:lnTo>
                    <a:pt x="1001953" y="5132367"/>
                  </a:lnTo>
                  <a:lnTo>
                    <a:pt x="1003828" y="5196171"/>
                  </a:lnTo>
                  <a:lnTo>
                    <a:pt x="1005530" y="5260257"/>
                  </a:lnTo>
                  <a:lnTo>
                    <a:pt x="1007091" y="5326190"/>
                  </a:lnTo>
                  <a:lnTo>
                    <a:pt x="1008288" y="5382736"/>
                  </a:lnTo>
                  <a:lnTo>
                    <a:pt x="1009409" y="5443235"/>
                  </a:lnTo>
                  <a:lnTo>
                    <a:pt x="1010359" y="5502853"/>
                  </a:lnTo>
                  <a:lnTo>
                    <a:pt x="1011144" y="5561567"/>
                  </a:lnTo>
                  <a:lnTo>
                    <a:pt x="1011771" y="5619356"/>
                  </a:lnTo>
                  <a:lnTo>
                    <a:pt x="1012247" y="5676197"/>
                  </a:lnTo>
                  <a:lnTo>
                    <a:pt x="1012578" y="5732068"/>
                  </a:lnTo>
                  <a:lnTo>
                    <a:pt x="1012762" y="5784219"/>
                  </a:lnTo>
                  <a:lnTo>
                    <a:pt x="1012771" y="5893642"/>
                  </a:lnTo>
                  <a:lnTo>
                    <a:pt x="1012592" y="5945413"/>
                  </a:lnTo>
                  <a:lnTo>
                    <a:pt x="1012301" y="5996103"/>
                  </a:lnTo>
                  <a:lnTo>
                    <a:pt x="1011906" y="6045691"/>
                  </a:lnTo>
                  <a:lnTo>
                    <a:pt x="1011414" y="6094155"/>
                  </a:lnTo>
                  <a:lnTo>
                    <a:pt x="1010831" y="6141472"/>
                  </a:lnTo>
                  <a:lnTo>
                    <a:pt x="1010131" y="6189611"/>
                  </a:lnTo>
                  <a:lnTo>
                    <a:pt x="1009303" y="6238881"/>
                  </a:lnTo>
                  <a:lnTo>
                    <a:pt x="1007727" y="6318830"/>
                  </a:lnTo>
                  <a:lnTo>
                    <a:pt x="1006792" y="6360082"/>
                  </a:lnTo>
                  <a:lnTo>
                    <a:pt x="1005807" y="6400055"/>
                  </a:lnTo>
                  <a:lnTo>
                    <a:pt x="1004778" y="6438726"/>
                  </a:lnTo>
                  <a:lnTo>
                    <a:pt x="1003586" y="6480198"/>
                  </a:lnTo>
                  <a:lnTo>
                    <a:pt x="1001497" y="6546710"/>
                  </a:lnTo>
                  <a:lnTo>
                    <a:pt x="999215" y="6611787"/>
                  </a:lnTo>
                  <a:lnTo>
                    <a:pt x="996922" y="6671128"/>
                  </a:lnTo>
                  <a:lnTo>
                    <a:pt x="994669" y="6724556"/>
                  </a:lnTo>
                  <a:lnTo>
                    <a:pt x="992512" y="6771894"/>
                  </a:lnTo>
                  <a:lnTo>
                    <a:pt x="990505" y="6812965"/>
                  </a:lnTo>
                  <a:lnTo>
                    <a:pt x="988160" y="6857978"/>
                  </a:lnTo>
                  <a:lnTo>
                    <a:pt x="1000479" y="6857978"/>
                  </a:lnTo>
                  <a:lnTo>
                    <a:pt x="1023284" y="6803028"/>
                  </a:lnTo>
                  <a:lnTo>
                    <a:pt x="1041552" y="6758037"/>
                  </a:lnTo>
                  <a:lnTo>
                    <a:pt x="1059640" y="6712662"/>
                  </a:lnTo>
                  <a:lnTo>
                    <a:pt x="1077548" y="6666908"/>
                  </a:lnTo>
                  <a:lnTo>
                    <a:pt x="1095272" y="6620779"/>
                  </a:lnTo>
                  <a:lnTo>
                    <a:pt x="1112812" y="6574281"/>
                  </a:lnTo>
                  <a:lnTo>
                    <a:pt x="1130165" y="6527419"/>
                  </a:lnTo>
                  <a:lnTo>
                    <a:pt x="1147330" y="6480198"/>
                  </a:lnTo>
                  <a:lnTo>
                    <a:pt x="1164304" y="6432622"/>
                  </a:lnTo>
                  <a:lnTo>
                    <a:pt x="1181087" y="6384698"/>
                  </a:lnTo>
                  <a:lnTo>
                    <a:pt x="1197676" y="6336430"/>
                  </a:lnTo>
                  <a:lnTo>
                    <a:pt x="1214070" y="6287822"/>
                  </a:lnTo>
                  <a:lnTo>
                    <a:pt x="1230267" y="6238881"/>
                  </a:lnTo>
                  <a:lnTo>
                    <a:pt x="1246264" y="6189611"/>
                  </a:lnTo>
                  <a:lnTo>
                    <a:pt x="1262061" y="6140018"/>
                  </a:lnTo>
                  <a:lnTo>
                    <a:pt x="1277655" y="6090105"/>
                  </a:lnTo>
                  <a:lnTo>
                    <a:pt x="1293044" y="6039879"/>
                  </a:lnTo>
                  <a:lnTo>
                    <a:pt x="1308228" y="5989344"/>
                  </a:lnTo>
                  <a:lnTo>
                    <a:pt x="1323204" y="5938506"/>
                  </a:lnTo>
                  <a:lnTo>
                    <a:pt x="1337969" y="5887369"/>
                  </a:lnTo>
                  <a:lnTo>
                    <a:pt x="1352524" y="5835938"/>
                  </a:lnTo>
                  <a:lnTo>
                    <a:pt x="1366865" y="5784219"/>
                  </a:lnTo>
                  <a:lnTo>
                    <a:pt x="1384477" y="5719240"/>
                  </a:lnTo>
                  <a:lnTo>
                    <a:pt x="1401692" y="5654091"/>
                  </a:lnTo>
                  <a:lnTo>
                    <a:pt x="1418515" y="5588783"/>
                  </a:lnTo>
                  <a:lnTo>
                    <a:pt x="1434950" y="5523328"/>
                  </a:lnTo>
                  <a:lnTo>
                    <a:pt x="1451001" y="5457737"/>
                  </a:lnTo>
                  <a:lnTo>
                    <a:pt x="1466672" y="5392020"/>
                  </a:lnTo>
                  <a:lnTo>
                    <a:pt x="1481967" y="5326190"/>
                  </a:lnTo>
                  <a:lnTo>
                    <a:pt x="1496891" y="5260257"/>
                  </a:lnTo>
                  <a:lnTo>
                    <a:pt x="1501027" y="5241496"/>
                  </a:lnTo>
                  <a:lnTo>
                    <a:pt x="150102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10681650" y="12696"/>
              <a:ext cx="1510665" cy="6845300"/>
            </a:xfrm>
            <a:custGeom>
              <a:avLst/>
              <a:gdLst/>
              <a:ahLst/>
              <a:cxnLst/>
              <a:rect l="l" t="t" r="r" b="b"/>
              <a:pathLst>
                <a:path w="1510665" h="6845300">
                  <a:moveTo>
                    <a:pt x="18418" y="0"/>
                  </a:moveTo>
                  <a:lnTo>
                    <a:pt x="0" y="0"/>
                  </a:lnTo>
                  <a:lnTo>
                    <a:pt x="8729" y="12700"/>
                  </a:lnTo>
                  <a:lnTo>
                    <a:pt x="33294" y="63500"/>
                  </a:lnTo>
                  <a:lnTo>
                    <a:pt x="57466" y="114300"/>
                  </a:lnTo>
                  <a:lnTo>
                    <a:pt x="81249" y="165100"/>
                  </a:lnTo>
                  <a:lnTo>
                    <a:pt x="104645" y="215900"/>
                  </a:lnTo>
                  <a:lnTo>
                    <a:pt x="127658" y="279400"/>
                  </a:lnTo>
                  <a:lnTo>
                    <a:pt x="150291" y="330200"/>
                  </a:lnTo>
                  <a:lnTo>
                    <a:pt x="172546" y="381000"/>
                  </a:lnTo>
                  <a:lnTo>
                    <a:pt x="194427" y="431800"/>
                  </a:lnTo>
                  <a:lnTo>
                    <a:pt x="215936" y="495300"/>
                  </a:lnTo>
                  <a:lnTo>
                    <a:pt x="237078" y="546100"/>
                  </a:lnTo>
                  <a:lnTo>
                    <a:pt x="257854" y="609600"/>
                  </a:lnTo>
                  <a:lnTo>
                    <a:pt x="278268" y="660400"/>
                  </a:lnTo>
                  <a:lnTo>
                    <a:pt x="298323" y="711200"/>
                  </a:lnTo>
                  <a:lnTo>
                    <a:pt x="318022" y="774700"/>
                  </a:lnTo>
                  <a:lnTo>
                    <a:pt x="337368" y="825500"/>
                  </a:lnTo>
                  <a:lnTo>
                    <a:pt x="356364" y="889000"/>
                  </a:lnTo>
                  <a:lnTo>
                    <a:pt x="375013" y="939800"/>
                  </a:lnTo>
                  <a:lnTo>
                    <a:pt x="393319" y="1003300"/>
                  </a:lnTo>
                  <a:lnTo>
                    <a:pt x="411283" y="1054100"/>
                  </a:lnTo>
                  <a:lnTo>
                    <a:pt x="428910" y="1117600"/>
                  </a:lnTo>
                  <a:lnTo>
                    <a:pt x="446202" y="1168400"/>
                  </a:lnTo>
                  <a:lnTo>
                    <a:pt x="463163" y="1231900"/>
                  </a:lnTo>
                  <a:lnTo>
                    <a:pt x="479795" y="1295400"/>
                  </a:lnTo>
                  <a:lnTo>
                    <a:pt x="496102" y="1346200"/>
                  </a:lnTo>
                  <a:lnTo>
                    <a:pt x="512086" y="1409700"/>
                  </a:lnTo>
                  <a:lnTo>
                    <a:pt x="527751" y="1460500"/>
                  </a:lnTo>
                  <a:lnTo>
                    <a:pt x="543099" y="1524000"/>
                  </a:lnTo>
                  <a:lnTo>
                    <a:pt x="558134" y="1587500"/>
                  </a:lnTo>
                  <a:lnTo>
                    <a:pt x="572859" y="1638300"/>
                  </a:lnTo>
                  <a:lnTo>
                    <a:pt x="587276" y="1701800"/>
                  </a:lnTo>
                  <a:lnTo>
                    <a:pt x="601389" y="1765300"/>
                  </a:lnTo>
                  <a:lnTo>
                    <a:pt x="615202" y="1816100"/>
                  </a:lnTo>
                  <a:lnTo>
                    <a:pt x="628716" y="1879600"/>
                  </a:lnTo>
                  <a:lnTo>
                    <a:pt x="641935" y="1943100"/>
                  </a:lnTo>
                  <a:lnTo>
                    <a:pt x="654862" y="2006600"/>
                  </a:lnTo>
                  <a:lnTo>
                    <a:pt x="667500" y="2057400"/>
                  </a:lnTo>
                  <a:lnTo>
                    <a:pt x="679853" y="2120900"/>
                  </a:lnTo>
                  <a:lnTo>
                    <a:pt x="691922" y="2184400"/>
                  </a:lnTo>
                  <a:lnTo>
                    <a:pt x="703712" y="2247900"/>
                  </a:lnTo>
                  <a:lnTo>
                    <a:pt x="715225" y="2298700"/>
                  </a:lnTo>
                  <a:lnTo>
                    <a:pt x="726464" y="2362200"/>
                  </a:lnTo>
                  <a:lnTo>
                    <a:pt x="737433" y="2425700"/>
                  </a:lnTo>
                  <a:lnTo>
                    <a:pt x="748134" y="2489200"/>
                  </a:lnTo>
                  <a:lnTo>
                    <a:pt x="758571" y="2540000"/>
                  </a:lnTo>
                  <a:lnTo>
                    <a:pt x="768746" y="2603500"/>
                  </a:lnTo>
                  <a:lnTo>
                    <a:pt x="778662" y="2667000"/>
                  </a:lnTo>
                  <a:lnTo>
                    <a:pt x="788324" y="2717800"/>
                  </a:lnTo>
                  <a:lnTo>
                    <a:pt x="797733" y="2781300"/>
                  </a:lnTo>
                  <a:lnTo>
                    <a:pt x="806892" y="2844800"/>
                  </a:lnTo>
                  <a:lnTo>
                    <a:pt x="815806" y="2908300"/>
                  </a:lnTo>
                  <a:lnTo>
                    <a:pt x="824476" y="2959100"/>
                  </a:lnTo>
                  <a:lnTo>
                    <a:pt x="832906" y="3022600"/>
                  </a:lnTo>
                  <a:lnTo>
                    <a:pt x="841099" y="3086100"/>
                  </a:lnTo>
                  <a:lnTo>
                    <a:pt x="849058" y="3136900"/>
                  </a:lnTo>
                  <a:lnTo>
                    <a:pt x="856786" y="3200400"/>
                  </a:lnTo>
                  <a:lnTo>
                    <a:pt x="864286" y="3263900"/>
                  </a:lnTo>
                  <a:lnTo>
                    <a:pt x="871562" y="3327400"/>
                  </a:lnTo>
                  <a:lnTo>
                    <a:pt x="878615" y="3378200"/>
                  </a:lnTo>
                  <a:lnTo>
                    <a:pt x="885449" y="3441700"/>
                  </a:lnTo>
                  <a:lnTo>
                    <a:pt x="892068" y="3492500"/>
                  </a:lnTo>
                  <a:lnTo>
                    <a:pt x="898474" y="3556000"/>
                  </a:lnTo>
                  <a:lnTo>
                    <a:pt x="904671" y="3619500"/>
                  </a:lnTo>
                  <a:lnTo>
                    <a:pt x="910661" y="3670300"/>
                  </a:lnTo>
                  <a:lnTo>
                    <a:pt x="916447" y="3733800"/>
                  </a:lnTo>
                  <a:lnTo>
                    <a:pt x="922033" y="3784600"/>
                  </a:lnTo>
                  <a:lnTo>
                    <a:pt x="927422" y="3848100"/>
                  </a:lnTo>
                  <a:lnTo>
                    <a:pt x="932616" y="3898900"/>
                  </a:lnTo>
                  <a:lnTo>
                    <a:pt x="937618" y="3962400"/>
                  </a:lnTo>
                  <a:lnTo>
                    <a:pt x="942433" y="4013200"/>
                  </a:lnTo>
                  <a:lnTo>
                    <a:pt x="947062" y="4076700"/>
                  </a:lnTo>
                  <a:lnTo>
                    <a:pt x="951509" y="4127500"/>
                  </a:lnTo>
                  <a:lnTo>
                    <a:pt x="955777" y="4191000"/>
                  </a:lnTo>
                  <a:lnTo>
                    <a:pt x="959868" y="4241800"/>
                  </a:lnTo>
                  <a:lnTo>
                    <a:pt x="963787" y="4292600"/>
                  </a:lnTo>
                  <a:lnTo>
                    <a:pt x="967536" y="4356100"/>
                  </a:lnTo>
                  <a:lnTo>
                    <a:pt x="971117" y="4406900"/>
                  </a:lnTo>
                  <a:lnTo>
                    <a:pt x="974535" y="4457700"/>
                  </a:lnTo>
                  <a:lnTo>
                    <a:pt x="977792" y="4521200"/>
                  </a:lnTo>
                  <a:lnTo>
                    <a:pt x="980891" y="4572000"/>
                  </a:lnTo>
                  <a:lnTo>
                    <a:pt x="983836" y="4622800"/>
                  </a:lnTo>
                  <a:lnTo>
                    <a:pt x="986629" y="4673600"/>
                  </a:lnTo>
                  <a:lnTo>
                    <a:pt x="989273" y="4724400"/>
                  </a:lnTo>
                  <a:lnTo>
                    <a:pt x="991771" y="4787900"/>
                  </a:lnTo>
                  <a:lnTo>
                    <a:pt x="994127" y="4838700"/>
                  </a:lnTo>
                  <a:lnTo>
                    <a:pt x="996343" y="4889500"/>
                  </a:lnTo>
                  <a:lnTo>
                    <a:pt x="998423" y="4940300"/>
                  </a:lnTo>
                  <a:lnTo>
                    <a:pt x="1000370" y="4991100"/>
                  </a:lnTo>
                  <a:lnTo>
                    <a:pt x="1002186" y="5041900"/>
                  </a:lnTo>
                  <a:lnTo>
                    <a:pt x="1003875" y="5092700"/>
                  </a:lnTo>
                  <a:lnTo>
                    <a:pt x="1005440" y="5143500"/>
                  </a:lnTo>
                  <a:lnTo>
                    <a:pt x="1006883" y="5181600"/>
                  </a:lnTo>
                  <a:lnTo>
                    <a:pt x="1008208" y="5232400"/>
                  </a:lnTo>
                  <a:lnTo>
                    <a:pt x="1009418" y="5283200"/>
                  </a:lnTo>
                  <a:lnTo>
                    <a:pt x="1010517" y="5334000"/>
                  </a:lnTo>
                  <a:lnTo>
                    <a:pt x="1011506" y="5372100"/>
                  </a:lnTo>
                  <a:lnTo>
                    <a:pt x="1012389" y="5422900"/>
                  </a:lnTo>
                  <a:lnTo>
                    <a:pt x="1013169" y="5473700"/>
                  </a:lnTo>
                  <a:lnTo>
                    <a:pt x="1013849" y="5511800"/>
                  </a:lnTo>
                  <a:lnTo>
                    <a:pt x="1014433" y="5562600"/>
                  </a:lnTo>
                  <a:lnTo>
                    <a:pt x="1014923" y="5600700"/>
                  </a:lnTo>
                  <a:lnTo>
                    <a:pt x="1015633" y="5689600"/>
                  </a:lnTo>
                  <a:lnTo>
                    <a:pt x="1015860" y="5740400"/>
                  </a:lnTo>
                  <a:lnTo>
                    <a:pt x="1015982" y="5905500"/>
                  </a:lnTo>
                  <a:lnTo>
                    <a:pt x="1015831" y="5943600"/>
                  </a:lnTo>
                  <a:lnTo>
                    <a:pt x="1015615" y="5981700"/>
                  </a:lnTo>
                  <a:lnTo>
                    <a:pt x="1015334" y="6019800"/>
                  </a:lnTo>
                  <a:lnTo>
                    <a:pt x="1014994" y="6057900"/>
                  </a:lnTo>
                  <a:lnTo>
                    <a:pt x="1014597" y="6096000"/>
                  </a:lnTo>
                  <a:lnTo>
                    <a:pt x="1014145" y="6134100"/>
                  </a:lnTo>
                  <a:lnTo>
                    <a:pt x="1013642" y="6159500"/>
                  </a:lnTo>
                  <a:lnTo>
                    <a:pt x="1013092" y="6197600"/>
                  </a:lnTo>
                  <a:lnTo>
                    <a:pt x="1012496" y="6235700"/>
                  </a:lnTo>
                  <a:lnTo>
                    <a:pt x="1011858" y="6261100"/>
                  </a:lnTo>
                  <a:lnTo>
                    <a:pt x="1011182" y="6299200"/>
                  </a:lnTo>
                  <a:lnTo>
                    <a:pt x="1010469" y="6337300"/>
                  </a:lnTo>
                  <a:lnTo>
                    <a:pt x="1009724" y="6362700"/>
                  </a:lnTo>
                  <a:lnTo>
                    <a:pt x="1008949" y="6388100"/>
                  </a:lnTo>
                  <a:lnTo>
                    <a:pt x="1008148" y="6426200"/>
                  </a:lnTo>
                  <a:lnTo>
                    <a:pt x="1006477" y="6477000"/>
                  </a:lnTo>
                  <a:lnTo>
                    <a:pt x="1005614" y="6515100"/>
                  </a:lnTo>
                  <a:lnTo>
                    <a:pt x="1002047" y="6616700"/>
                  </a:lnTo>
                  <a:lnTo>
                    <a:pt x="1001142" y="6629400"/>
                  </a:lnTo>
                  <a:lnTo>
                    <a:pt x="998443" y="6705600"/>
                  </a:lnTo>
                  <a:lnTo>
                    <a:pt x="997559" y="6718300"/>
                  </a:lnTo>
                  <a:lnTo>
                    <a:pt x="995834" y="6756400"/>
                  </a:lnTo>
                  <a:lnTo>
                    <a:pt x="994185" y="6794500"/>
                  </a:lnTo>
                  <a:lnTo>
                    <a:pt x="992636" y="6819900"/>
                  </a:lnTo>
                  <a:lnTo>
                    <a:pt x="991031" y="6845300"/>
                  </a:lnTo>
                  <a:lnTo>
                    <a:pt x="1004402" y="6845300"/>
                  </a:lnTo>
                  <a:lnTo>
                    <a:pt x="1004658" y="6832600"/>
                  </a:lnTo>
                  <a:lnTo>
                    <a:pt x="1005362" y="6832600"/>
                  </a:lnTo>
                  <a:lnTo>
                    <a:pt x="1006771" y="6794500"/>
                  </a:lnTo>
                  <a:lnTo>
                    <a:pt x="1008254" y="6769100"/>
                  </a:lnTo>
                  <a:lnTo>
                    <a:pt x="1009794" y="6731000"/>
                  </a:lnTo>
                  <a:lnTo>
                    <a:pt x="1011375" y="6705600"/>
                  </a:lnTo>
                  <a:lnTo>
                    <a:pt x="1012981" y="6654800"/>
                  </a:lnTo>
                  <a:lnTo>
                    <a:pt x="1016201" y="6578600"/>
                  </a:lnTo>
                  <a:lnTo>
                    <a:pt x="1017782" y="6527800"/>
                  </a:lnTo>
                  <a:lnTo>
                    <a:pt x="1019322" y="6477000"/>
                  </a:lnTo>
                  <a:lnTo>
                    <a:pt x="1020805" y="6426200"/>
                  </a:lnTo>
                  <a:lnTo>
                    <a:pt x="1022214" y="6375400"/>
                  </a:lnTo>
                  <a:lnTo>
                    <a:pt x="1023532" y="6324600"/>
                  </a:lnTo>
                  <a:lnTo>
                    <a:pt x="1024744" y="6261100"/>
                  </a:lnTo>
                  <a:lnTo>
                    <a:pt x="1025833" y="6197600"/>
                  </a:lnTo>
                  <a:lnTo>
                    <a:pt x="1026782" y="6146800"/>
                  </a:lnTo>
                  <a:lnTo>
                    <a:pt x="1028196" y="6007100"/>
                  </a:lnTo>
                  <a:lnTo>
                    <a:pt x="1028629" y="5943600"/>
                  </a:lnTo>
                  <a:lnTo>
                    <a:pt x="1028743" y="5905500"/>
                  </a:lnTo>
                  <a:lnTo>
                    <a:pt x="1028721" y="5740400"/>
                  </a:lnTo>
                  <a:lnTo>
                    <a:pt x="1028463" y="5689600"/>
                  </a:lnTo>
                  <a:lnTo>
                    <a:pt x="1028088" y="5638800"/>
                  </a:lnTo>
                  <a:lnTo>
                    <a:pt x="1027595" y="5588000"/>
                  </a:lnTo>
                  <a:lnTo>
                    <a:pt x="1026986" y="5537200"/>
                  </a:lnTo>
                  <a:lnTo>
                    <a:pt x="1026260" y="5486400"/>
                  </a:lnTo>
                  <a:lnTo>
                    <a:pt x="1025417" y="5435600"/>
                  </a:lnTo>
                  <a:lnTo>
                    <a:pt x="1024457" y="5384800"/>
                  </a:lnTo>
                  <a:lnTo>
                    <a:pt x="1023382" y="5334000"/>
                  </a:lnTo>
                  <a:lnTo>
                    <a:pt x="1022190" y="5283200"/>
                  </a:lnTo>
                  <a:lnTo>
                    <a:pt x="1020882" y="5232400"/>
                  </a:lnTo>
                  <a:lnTo>
                    <a:pt x="1019457" y="5181600"/>
                  </a:lnTo>
                  <a:lnTo>
                    <a:pt x="1017918" y="5130800"/>
                  </a:lnTo>
                  <a:lnTo>
                    <a:pt x="1016262" y="5067300"/>
                  </a:lnTo>
                  <a:lnTo>
                    <a:pt x="1014491" y="5016500"/>
                  </a:lnTo>
                  <a:lnTo>
                    <a:pt x="1012604" y="4965700"/>
                  </a:lnTo>
                  <a:lnTo>
                    <a:pt x="1010602" y="4914900"/>
                  </a:lnTo>
                  <a:lnTo>
                    <a:pt x="1008485" y="4864100"/>
                  </a:lnTo>
                  <a:lnTo>
                    <a:pt x="1006253" y="4813300"/>
                  </a:lnTo>
                  <a:lnTo>
                    <a:pt x="1003906" y="4762500"/>
                  </a:lnTo>
                  <a:lnTo>
                    <a:pt x="1001444" y="4711700"/>
                  </a:lnTo>
                  <a:lnTo>
                    <a:pt x="998867" y="4660900"/>
                  </a:lnTo>
                  <a:lnTo>
                    <a:pt x="996176" y="4610100"/>
                  </a:lnTo>
                  <a:lnTo>
                    <a:pt x="993371" y="4559300"/>
                  </a:lnTo>
                  <a:lnTo>
                    <a:pt x="990452" y="4508500"/>
                  </a:lnTo>
                  <a:lnTo>
                    <a:pt x="987418" y="4457700"/>
                  </a:lnTo>
                  <a:lnTo>
                    <a:pt x="984270" y="4406900"/>
                  </a:lnTo>
                  <a:lnTo>
                    <a:pt x="981009" y="4356100"/>
                  </a:lnTo>
                  <a:lnTo>
                    <a:pt x="977634" y="4318000"/>
                  </a:lnTo>
                  <a:lnTo>
                    <a:pt x="974145" y="4267200"/>
                  </a:lnTo>
                  <a:lnTo>
                    <a:pt x="970543" y="4216400"/>
                  </a:lnTo>
                  <a:lnTo>
                    <a:pt x="966827" y="4165600"/>
                  </a:lnTo>
                  <a:lnTo>
                    <a:pt x="962999" y="4114800"/>
                  </a:lnTo>
                  <a:lnTo>
                    <a:pt x="959057" y="4064000"/>
                  </a:lnTo>
                  <a:lnTo>
                    <a:pt x="955002" y="4013200"/>
                  </a:lnTo>
                  <a:lnTo>
                    <a:pt x="950394" y="3962400"/>
                  </a:lnTo>
                  <a:lnTo>
                    <a:pt x="945650" y="3898900"/>
                  </a:lnTo>
                  <a:lnTo>
                    <a:pt x="940769" y="3848100"/>
                  </a:lnTo>
                  <a:lnTo>
                    <a:pt x="935753" y="3797300"/>
                  </a:lnTo>
                  <a:lnTo>
                    <a:pt x="930602" y="3746500"/>
                  </a:lnTo>
                  <a:lnTo>
                    <a:pt x="925316" y="3683000"/>
                  </a:lnTo>
                  <a:lnTo>
                    <a:pt x="919894" y="3632200"/>
                  </a:lnTo>
                  <a:lnTo>
                    <a:pt x="914338" y="3581400"/>
                  </a:lnTo>
                  <a:lnTo>
                    <a:pt x="908647" y="3530600"/>
                  </a:lnTo>
                  <a:lnTo>
                    <a:pt x="902822" y="3479800"/>
                  </a:lnTo>
                  <a:lnTo>
                    <a:pt x="896863" y="3429000"/>
                  </a:lnTo>
                  <a:lnTo>
                    <a:pt x="890769" y="3378200"/>
                  </a:lnTo>
                  <a:lnTo>
                    <a:pt x="884543" y="3314700"/>
                  </a:lnTo>
                  <a:lnTo>
                    <a:pt x="878182" y="3263900"/>
                  </a:lnTo>
                  <a:lnTo>
                    <a:pt x="871689" y="3213100"/>
                  </a:lnTo>
                  <a:lnTo>
                    <a:pt x="865062" y="3162300"/>
                  </a:lnTo>
                  <a:lnTo>
                    <a:pt x="858302" y="3111500"/>
                  </a:lnTo>
                  <a:lnTo>
                    <a:pt x="851410" y="3060700"/>
                  </a:lnTo>
                  <a:lnTo>
                    <a:pt x="844386" y="3009900"/>
                  </a:lnTo>
                  <a:lnTo>
                    <a:pt x="837229" y="2959100"/>
                  </a:lnTo>
                  <a:lnTo>
                    <a:pt x="829941" y="2908300"/>
                  </a:lnTo>
                  <a:lnTo>
                    <a:pt x="822520" y="2857500"/>
                  </a:lnTo>
                  <a:lnTo>
                    <a:pt x="814968" y="2806700"/>
                  </a:lnTo>
                  <a:lnTo>
                    <a:pt x="807285" y="2755900"/>
                  </a:lnTo>
                  <a:lnTo>
                    <a:pt x="799471" y="2705100"/>
                  </a:lnTo>
                  <a:lnTo>
                    <a:pt x="791525" y="2654300"/>
                  </a:lnTo>
                  <a:lnTo>
                    <a:pt x="783449" y="2616200"/>
                  </a:lnTo>
                  <a:lnTo>
                    <a:pt x="775243" y="2565400"/>
                  </a:lnTo>
                  <a:lnTo>
                    <a:pt x="766906" y="2514600"/>
                  </a:lnTo>
                  <a:lnTo>
                    <a:pt x="758439" y="2463800"/>
                  </a:lnTo>
                  <a:lnTo>
                    <a:pt x="749843" y="2413000"/>
                  </a:lnTo>
                  <a:lnTo>
                    <a:pt x="741117" y="2362200"/>
                  </a:lnTo>
                  <a:lnTo>
                    <a:pt x="732261" y="2324100"/>
                  </a:lnTo>
                  <a:lnTo>
                    <a:pt x="723277" y="2273300"/>
                  </a:lnTo>
                  <a:lnTo>
                    <a:pt x="714163" y="2222500"/>
                  </a:lnTo>
                  <a:lnTo>
                    <a:pt x="704920" y="2184400"/>
                  </a:lnTo>
                  <a:lnTo>
                    <a:pt x="695549" y="2133600"/>
                  </a:lnTo>
                  <a:lnTo>
                    <a:pt x="686050" y="2082800"/>
                  </a:lnTo>
                  <a:lnTo>
                    <a:pt x="676423" y="2044700"/>
                  </a:lnTo>
                  <a:lnTo>
                    <a:pt x="666668" y="1993900"/>
                  </a:lnTo>
                  <a:lnTo>
                    <a:pt x="656785" y="1943100"/>
                  </a:lnTo>
                  <a:lnTo>
                    <a:pt x="646774" y="1905000"/>
                  </a:lnTo>
                  <a:lnTo>
                    <a:pt x="634481" y="1841500"/>
                  </a:lnTo>
                  <a:lnTo>
                    <a:pt x="621996" y="1790700"/>
                  </a:lnTo>
                  <a:lnTo>
                    <a:pt x="609317" y="1739900"/>
                  </a:lnTo>
                  <a:lnTo>
                    <a:pt x="596447" y="1676400"/>
                  </a:lnTo>
                  <a:lnTo>
                    <a:pt x="583386" y="1625600"/>
                  </a:lnTo>
                  <a:lnTo>
                    <a:pt x="570133" y="1574800"/>
                  </a:lnTo>
                  <a:lnTo>
                    <a:pt x="556690" y="1524000"/>
                  </a:lnTo>
                  <a:lnTo>
                    <a:pt x="543058" y="1473200"/>
                  </a:lnTo>
                  <a:lnTo>
                    <a:pt x="529236" y="1422400"/>
                  </a:lnTo>
                  <a:lnTo>
                    <a:pt x="515226" y="1358900"/>
                  </a:lnTo>
                  <a:lnTo>
                    <a:pt x="501028" y="1308100"/>
                  </a:lnTo>
                  <a:lnTo>
                    <a:pt x="486642" y="1257300"/>
                  </a:lnTo>
                  <a:lnTo>
                    <a:pt x="472069" y="1206500"/>
                  </a:lnTo>
                  <a:lnTo>
                    <a:pt x="457309" y="1155700"/>
                  </a:lnTo>
                  <a:lnTo>
                    <a:pt x="442364" y="1104900"/>
                  </a:lnTo>
                  <a:lnTo>
                    <a:pt x="427233" y="1054100"/>
                  </a:lnTo>
                  <a:lnTo>
                    <a:pt x="411917" y="1016000"/>
                  </a:lnTo>
                  <a:lnTo>
                    <a:pt x="396417" y="965200"/>
                  </a:lnTo>
                  <a:lnTo>
                    <a:pt x="380734" y="914400"/>
                  </a:lnTo>
                  <a:lnTo>
                    <a:pt x="364867" y="863600"/>
                  </a:lnTo>
                  <a:lnTo>
                    <a:pt x="348817" y="812800"/>
                  </a:lnTo>
                  <a:lnTo>
                    <a:pt x="332586" y="774700"/>
                  </a:lnTo>
                  <a:lnTo>
                    <a:pt x="316172" y="723900"/>
                  </a:lnTo>
                  <a:lnTo>
                    <a:pt x="299578" y="673100"/>
                  </a:lnTo>
                  <a:lnTo>
                    <a:pt x="282803" y="622300"/>
                  </a:lnTo>
                  <a:lnTo>
                    <a:pt x="265849" y="584200"/>
                  </a:lnTo>
                  <a:lnTo>
                    <a:pt x="248715" y="533400"/>
                  </a:lnTo>
                  <a:lnTo>
                    <a:pt x="231402" y="495300"/>
                  </a:lnTo>
                  <a:lnTo>
                    <a:pt x="213911" y="444500"/>
                  </a:lnTo>
                  <a:lnTo>
                    <a:pt x="196242" y="406400"/>
                  </a:lnTo>
                  <a:lnTo>
                    <a:pt x="178396" y="355600"/>
                  </a:lnTo>
                  <a:lnTo>
                    <a:pt x="160373" y="317500"/>
                  </a:lnTo>
                  <a:lnTo>
                    <a:pt x="142174" y="266700"/>
                  </a:lnTo>
                  <a:lnTo>
                    <a:pt x="123800" y="228600"/>
                  </a:lnTo>
                  <a:lnTo>
                    <a:pt x="105250" y="177800"/>
                  </a:lnTo>
                  <a:lnTo>
                    <a:pt x="86527" y="139700"/>
                  </a:lnTo>
                  <a:lnTo>
                    <a:pt x="67629" y="101600"/>
                  </a:lnTo>
                  <a:lnTo>
                    <a:pt x="48558" y="63500"/>
                  </a:lnTo>
                  <a:lnTo>
                    <a:pt x="29314" y="12700"/>
                  </a:lnTo>
                  <a:lnTo>
                    <a:pt x="18418" y="0"/>
                  </a:lnTo>
                  <a:close/>
                </a:path>
                <a:path w="1510665" h="6845300">
                  <a:moveTo>
                    <a:pt x="1510324" y="5207000"/>
                  </a:moveTo>
                  <a:lnTo>
                    <a:pt x="1499357" y="5257800"/>
                  </a:lnTo>
                  <a:lnTo>
                    <a:pt x="1484574" y="5321300"/>
                  </a:lnTo>
                  <a:lnTo>
                    <a:pt x="1469426" y="5384800"/>
                  </a:lnTo>
                  <a:lnTo>
                    <a:pt x="1453909" y="5448300"/>
                  </a:lnTo>
                  <a:lnTo>
                    <a:pt x="1438021" y="5511800"/>
                  </a:lnTo>
                  <a:lnTo>
                    <a:pt x="1421756" y="5575300"/>
                  </a:lnTo>
                  <a:lnTo>
                    <a:pt x="1405110" y="5638800"/>
                  </a:lnTo>
                  <a:lnTo>
                    <a:pt x="1388081" y="5702300"/>
                  </a:lnTo>
                  <a:lnTo>
                    <a:pt x="1370663" y="5765800"/>
                  </a:lnTo>
                  <a:lnTo>
                    <a:pt x="1356162" y="5829300"/>
                  </a:lnTo>
                  <a:lnTo>
                    <a:pt x="1341446" y="5880100"/>
                  </a:lnTo>
                  <a:lnTo>
                    <a:pt x="1326517" y="5930900"/>
                  </a:lnTo>
                  <a:lnTo>
                    <a:pt x="1311375" y="5981700"/>
                  </a:lnTo>
                  <a:lnTo>
                    <a:pt x="1296023" y="6032500"/>
                  </a:lnTo>
                  <a:lnTo>
                    <a:pt x="1280462" y="6083300"/>
                  </a:lnTo>
                  <a:lnTo>
                    <a:pt x="1264694" y="6134100"/>
                  </a:lnTo>
                  <a:lnTo>
                    <a:pt x="1248721" y="6184900"/>
                  </a:lnTo>
                  <a:lnTo>
                    <a:pt x="1232543" y="6235700"/>
                  </a:lnTo>
                  <a:lnTo>
                    <a:pt x="1216163" y="6273800"/>
                  </a:lnTo>
                  <a:lnTo>
                    <a:pt x="1199583" y="6324600"/>
                  </a:lnTo>
                  <a:lnTo>
                    <a:pt x="1182803" y="6375400"/>
                  </a:lnTo>
                  <a:lnTo>
                    <a:pt x="1165825" y="6426200"/>
                  </a:lnTo>
                  <a:lnTo>
                    <a:pt x="1148652" y="6477000"/>
                  </a:lnTo>
                  <a:lnTo>
                    <a:pt x="1131284" y="6515100"/>
                  </a:lnTo>
                  <a:lnTo>
                    <a:pt x="1113724" y="6565900"/>
                  </a:lnTo>
                  <a:lnTo>
                    <a:pt x="1095972" y="6616700"/>
                  </a:lnTo>
                  <a:lnTo>
                    <a:pt x="1078031" y="6667500"/>
                  </a:lnTo>
                  <a:lnTo>
                    <a:pt x="1059902" y="6705600"/>
                  </a:lnTo>
                  <a:lnTo>
                    <a:pt x="1041586" y="6756400"/>
                  </a:lnTo>
                  <a:lnTo>
                    <a:pt x="1023086" y="6794500"/>
                  </a:lnTo>
                  <a:lnTo>
                    <a:pt x="1004402" y="6845300"/>
                  </a:lnTo>
                  <a:lnTo>
                    <a:pt x="1018364" y="6845300"/>
                  </a:lnTo>
                  <a:lnTo>
                    <a:pt x="1025690" y="6832600"/>
                  </a:lnTo>
                  <a:lnTo>
                    <a:pt x="1044562" y="6794500"/>
                  </a:lnTo>
                  <a:lnTo>
                    <a:pt x="1063167" y="6743700"/>
                  </a:lnTo>
                  <a:lnTo>
                    <a:pt x="1081506" y="6692900"/>
                  </a:lnTo>
                  <a:lnTo>
                    <a:pt x="1099581" y="6654800"/>
                  </a:lnTo>
                  <a:lnTo>
                    <a:pt x="1117394" y="6604000"/>
                  </a:lnTo>
                  <a:lnTo>
                    <a:pt x="1134946" y="6553200"/>
                  </a:lnTo>
                  <a:lnTo>
                    <a:pt x="1152239" y="6515100"/>
                  </a:lnTo>
                  <a:lnTo>
                    <a:pt x="1169274" y="6464300"/>
                  </a:lnTo>
                  <a:lnTo>
                    <a:pt x="1186054" y="6413500"/>
                  </a:lnTo>
                  <a:lnTo>
                    <a:pt x="1202580" y="6362700"/>
                  </a:lnTo>
                  <a:lnTo>
                    <a:pt x="1218854" y="6324600"/>
                  </a:lnTo>
                  <a:lnTo>
                    <a:pt x="1234877" y="6273800"/>
                  </a:lnTo>
                  <a:lnTo>
                    <a:pt x="1250651" y="6223000"/>
                  </a:lnTo>
                  <a:lnTo>
                    <a:pt x="1266178" y="6172200"/>
                  </a:lnTo>
                  <a:lnTo>
                    <a:pt x="1281459" y="6121400"/>
                  </a:lnTo>
                  <a:lnTo>
                    <a:pt x="1296497" y="6083300"/>
                  </a:lnTo>
                  <a:lnTo>
                    <a:pt x="1311292" y="6032500"/>
                  </a:lnTo>
                  <a:lnTo>
                    <a:pt x="1325847" y="5981700"/>
                  </a:lnTo>
                  <a:lnTo>
                    <a:pt x="1340163" y="5930900"/>
                  </a:lnTo>
                  <a:lnTo>
                    <a:pt x="1354241" y="5880100"/>
                  </a:lnTo>
                  <a:lnTo>
                    <a:pt x="1368084" y="5829300"/>
                  </a:lnTo>
                  <a:lnTo>
                    <a:pt x="1381694" y="5778500"/>
                  </a:lnTo>
                  <a:lnTo>
                    <a:pt x="1399378" y="5715000"/>
                  </a:lnTo>
                  <a:lnTo>
                    <a:pt x="1416663" y="5651500"/>
                  </a:lnTo>
                  <a:lnTo>
                    <a:pt x="1433554" y="5588000"/>
                  </a:lnTo>
                  <a:lnTo>
                    <a:pt x="1450054" y="5524500"/>
                  </a:lnTo>
                  <a:lnTo>
                    <a:pt x="1466167" y="5461000"/>
                  </a:lnTo>
                  <a:lnTo>
                    <a:pt x="1481898" y="5384800"/>
                  </a:lnTo>
                  <a:lnTo>
                    <a:pt x="1497250" y="5321300"/>
                  </a:lnTo>
                  <a:lnTo>
                    <a:pt x="1510324" y="5270500"/>
                  </a:lnTo>
                  <a:lnTo>
                    <a:pt x="151032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11021024" y="4561729"/>
              <a:ext cx="628015" cy="2296795"/>
            </a:xfrm>
            <a:custGeom>
              <a:avLst/>
              <a:gdLst/>
              <a:ahLst/>
              <a:cxnLst/>
              <a:rect l="l" t="t" r="r" b="b"/>
              <a:pathLst>
                <a:path w="628015" h="2296795">
                  <a:moveTo>
                    <a:pt x="588034" y="0"/>
                  </a:moveTo>
                  <a:lnTo>
                    <a:pt x="578490" y="55391"/>
                  </a:lnTo>
                  <a:lnTo>
                    <a:pt x="570192" y="102057"/>
                  </a:lnTo>
                  <a:lnTo>
                    <a:pt x="560320" y="156136"/>
                  </a:lnTo>
                  <a:lnTo>
                    <a:pt x="548854" y="217308"/>
                  </a:lnTo>
                  <a:lnTo>
                    <a:pt x="535771" y="285250"/>
                  </a:lnTo>
                  <a:lnTo>
                    <a:pt x="521050" y="359640"/>
                  </a:lnTo>
                  <a:lnTo>
                    <a:pt x="513068" y="399152"/>
                  </a:lnTo>
                  <a:lnTo>
                    <a:pt x="504669" y="440155"/>
                  </a:lnTo>
                  <a:lnTo>
                    <a:pt x="495849" y="482610"/>
                  </a:lnTo>
                  <a:lnTo>
                    <a:pt x="486606" y="526475"/>
                  </a:lnTo>
                  <a:lnTo>
                    <a:pt x="476938" y="571711"/>
                  </a:lnTo>
                  <a:lnTo>
                    <a:pt x="466840" y="618277"/>
                  </a:lnTo>
                  <a:lnTo>
                    <a:pt x="456312" y="666132"/>
                  </a:lnTo>
                  <a:lnTo>
                    <a:pt x="445350" y="715238"/>
                  </a:lnTo>
                  <a:lnTo>
                    <a:pt x="433917" y="765702"/>
                  </a:lnTo>
                  <a:lnTo>
                    <a:pt x="422113" y="817037"/>
                  </a:lnTo>
                  <a:lnTo>
                    <a:pt x="409832" y="869650"/>
                  </a:lnTo>
                  <a:lnTo>
                    <a:pt x="397107" y="923352"/>
                  </a:lnTo>
                  <a:lnTo>
                    <a:pt x="383935" y="978102"/>
                  </a:lnTo>
                  <a:lnTo>
                    <a:pt x="370312" y="1033860"/>
                  </a:lnTo>
                  <a:lnTo>
                    <a:pt x="356236" y="1090586"/>
                  </a:lnTo>
                  <a:lnTo>
                    <a:pt x="341705" y="1148240"/>
                  </a:lnTo>
                  <a:lnTo>
                    <a:pt x="326715" y="1206781"/>
                  </a:lnTo>
                  <a:lnTo>
                    <a:pt x="311265" y="1266169"/>
                  </a:lnTo>
                  <a:lnTo>
                    <a:pt x="295351" y="1326364"/>
                  </a:lnTo>
                  <a:lnTo>
                    <a:pt x="278970" y="1387326"/>
                  </a:lnTo>
                  <a:lnTo>
                    <a:pt x="262120" y="1449014"/>
                  </a:lnTo>
                  <a:lnTo>
                    <a:pt x="244798" y="1511388"/>
                  </a:lnTo>
                  <a:lnTo>
                    <a:pt x="227002" y="1574408"/>
                  </a:lnTo>
                  <a:lnTo>
                    <a:pt x="208729" y="1638034"/>
                  </a:lnTo>
                  <a:lnTo>
                    <a:pt x="189975" y="1702224"/>
                  </a:lnTo>
                  <a:lnTo>
                    <a:pt x="170739" y="1766940"/>
                  </a:lnTo>
                  <a:lnTo>
                    <a:pt x="151018" y="1832141"/>
                  </a:lnTo>
                  <a:lnTo>
                    <a:pt x="130808" y="1897786"/>
                  </a:lnTo>
                  <a:lnTo>
                    <a:pt x="110108" y="1963836"/>
                  </a:lnTo>
                  <a:lnTo>
                    <a:pt x="88914" y="2030249"/>
                  </a:lnTo>
                  <a:lnTo>
                    <a:pt x="67224" y="2096987"/>
                  </a:lnTo>
                  <a:lnTo>
                    <a:pt x="45035" y="2164007"/>
                  </a:lnTo>
                  <a:lnTo>
                    <a:pt x="22344" y="2231272"/>
                  </a:lnTo>
                  <a:lnTo>
                    <a:pt x="0" y="2296266"/>
                  </a:lnTo>
                  <a:lnTo>
                    <a:pt x="603533" y="2296266"/>
                  </a:lnTo>
                  <a:lnTo>
                    <a:pt x="606790" y="2234701"/>
                  </a:lnTo>
                  <a:lnTo>
                    <a:pt x="609403" y="2180315"/>
                  </a:lnTo>
                  <a:lnTo>
                    <a:pt x="612139" y="2117872"/>
                  </a:lnTo>
                  <a:lnTo>
                    <a:pt x="614911" y="2047638"/>
                  </a:lnTo>
                  <a:lnTo>
                    <a:pt x="617631" y="1969876"/>
                  </a:lnTo>
                  <a:lnTo>
                    <a:pt x="618945" y="1928256"/>
                  </a:lnTo>
                  <a:lnTo>
                    <a:pt x="620213" y="1884854"/>
                  </a:lnTo>
                  <a:lnTo>
                    <a:pt x="621425" y="1839703"/>
                  </a:lnTo>
                  <a:lnTo>
                    <a:pt x="622569" y="1792835"/>
                  </a:lnTo>
                  <a:lnTo>
                    <a:pt x="623634" y="1744285"/>
                  </a:lnTo>
                  <a:lnTo>
                    <a:pt x="624611" y="1694086"/>
                  </a:lnTo>
                  <a:lnTo>
                    <a:pt x="625547" y="1638034"/>
                  </a:lnTo>
                  <a:lnTo>
                    <a:pt x="626251" y="1588871"/>
                  </a:lnTo>
                  <a:lnTo>
                    <a:pt x="626894" y="1533922"/>
                  </a:lnTo>
                  <a:lnTo>
                    <a:pt x="627404" y="1477457"/>
                  </a:lnTo>
                  <a:lnTo>
                    <a:pt x="627770" y="1419507"/>
                  </a:lnTo>
                  <a:lnTo>
                    <a:pt x="628006" y="1326364"/>
                  </a:lnTo>
                  <a:lnTo>
                    <a:pt x="627894" y="1237088"/>
                  </a:lnTo>
                  <a:lnTo>
                    <a:pt x="627575" y="1173535"/>
                  </a:lnTo>
                  <a:lnTo>
                    <a:pt x="627057" y="1108664"/>
                  </a:lnTo>
                  <a:lnTo>
                    <a:pt x="626330" y="1042508"/>
                  </a:lnTo>
                  <a:lnTo>
                    <a:pt x="625382" y="975101"/>
                  </a:lnTo>
                  <a:lnTo>
                    <a:pt x="624203" y="906476"/>
                  </a:lnTo>
                  <a:lnTo>
                    <a:pt x="622782" y="836665"/>
                  </a:lnTo>
                  <a:lnTo>
                    <a:pt x="621104" y="765553"/>
                  </a:lnTo>
                  <a:lnTo>
                    <a:pt x="619169" y="693620"/>
                  </a:lnTo>
                  <a:lnTo>
                    <a:pt x="616882" y="618277"/>
                  </a:lnTo>
                  <a:lnTo>
                    <a:pt x="614456" y="546231"/>
                  </a:lnTo>
                  <a:lnTo>
                    <a:pt x="611659" y="470991"/>
                  </a:lnTo>
                  <a:lnTo>
                    <a:pt x="608555" y="394765"/>
                  </a:lnTo>
                  <a:lnTo>
                    <a:pt x="605132" y="317586"/>
                  </a:lnTo>
                  <a:lnTo>
                    <a:pt x="601380" y="239486"/>
                  </a:lnTo>
                  <a:lnTo>
                    <a:pt x="597286" y="160500"/>
                  </a:lnTo>
                  <a:lnTo>
                    <a:pt x="592842" y="80660"/>
                  </a:lnTo>
                  <a:lnTo>
                    <a:pt x="58803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11013011" y="4503006"/>
              <a:ext cx="639445" cy="2355215"/>
            </a:xfrm>
            <a:custGeom>
              <a:avLst/>
              <a:gdLst/>
              <a:ahLst/>
              <a:cxnLst/>
              <a:rect l="l" t="t" r="r" b="b"/>
              <a:pathLst>
                <a:path w="639445" h="2355215">
                  <a:moveTo>
                    <a:pt x="598701" y="0"/>
                  </a:moveTo>
                  <a:lnTo>
                    <a:pt x="590397" y="50916"/>
                  </a:lnTo>
                  <a:lnTo>
                    <a:pt x="583942" y="88693"/>
                  </a:lnTo>
                  <a:lnTo>
                    <a:pt x="575599" y="136140"/>
                  </a:lnTo>
                  <a:lnTo>
                    <a:pt x="565341" y="192816"/>
                  </a:lnTo>
                  <a:lnTo>
                    <a:pt x="553141" y="258284"/>
                  </a:lnTo>
                  <a:lnTo>
                    <a:pt x="538971" y="332102"/>
                  </a:lnTo>
                  <a:lnTo>
                    <a:pt x="531139" y="372006"/>
                  </a:lnTo>
                  <a:lnTo>
                    <a:pt x="522804" y="413833"/>
                  </a:lnTo>
                  <a:lnTo>
                    <a:pt x="513963" y="457527"/>
                  </a:lnTo>
                  <a:lnTo>
                    <a:pt x="504614" y="503035"/>
                  </a:lnTo>
                  <a:lnTo>
                    <a:pt x="494751" y="550301"/>
                  </a:lnTo>
                  <a:lnTo>
                    <a:pt x="484373" y="599270"/>
                  </a:lnTo>
                  <a:lnTo>
                    <a:pt x="473475" y="649888"/>
                  </a:lnTo>
                  <a:lnTo>
                    <a:pt x="462054" y="702099"/>
                  </a:lnTo>
                  <a:lnTo>
                    <a:pt x="450107" y="755848"/>
                  </a:lnTo>
                  <a:lnTo>
                    <a:pt x="437630" y="811081"/>
                  </a:lnTo>
                  <a:lnTo>
                    <a:pt x="424620" y="867742"/>
                  </a:lnTo>
                  <a:lnTo>
                    <a:pt x="411074" y="925777"/>
                  </a:lnTo>
                  <a:lnTo>
                    <a:pt x="396989" y="985130"/>
                  </a:lnTo>
                  <a:lnTo>
                    <a:pt x="382360" y="1045748"/>
                  </a:lnTo>
                  <a:lnTo>
                    <a:pt x="367184" y="1107574"/>
                  </a:lnTo>
                  <a:lnTo>
                    <a:pt x="351459" y="1170554"/>
                  </a:lnTo>
                  <a:lnTo>
                    <a:pt x="335180" y="1234633"/>
                  </a:lnTo>
                  <a:lnTo>
                    <a:pt x="318345" y="1299755"/>
                  </a:lnTo>
                  <a:lnTo>
                    <a:pt x="300950" y="1365867"/>
                  </a:lnTo>
                  <a:lnTo>
                    <a:pt x="282991" y="1432913"/>
                  </a:lnTo>
                  <a:lnTo>
                    <a:pt x="264465" y="1500838"/>
                  </a:lnTo>
                  <a:lnTo>
                    <a:pt x="245369" y="1569588"/>
                  </a:lnTo>
                  <a:lnTo>
                    <a:pt x="225700" y="1639106"/>
                  </a:lnTo>
                  <a:lnTo>
                    <a:pt x="205454" y="1709339"/>
                  </a:lnTo>
                  <a:lnTo>
                    <a:pt x="184627" y="1780232"/>
                  </a:lnTo>
                  <a:lnTo>
                    <a:pt x="163216" y="1851728"/>
                  </a:lnTo>
                  <a:lnTo>
                    <a:pt x="141219" y="1923775"/>
                  </a:lnTo>
                  <a:lnTo>
                    <a:pt x="118630" y="1996316"/>
                  </a:lnTo>
                  <a:lnTo>
                    <a:pt x="95448" y="2069296"/>
                  </a:lnTo>
                  <a:lnTo>
                    <a:pt x="71669" y="2142661"/>
                  </a:lnTo>
                  <a:lnTo>
                    <a:pt x="47289" y="2216357"/>
                  </a:lnTo>
                  <a:lnTo>
                    <a:pt x="22305" y="2290326"/>
                  </a:lnTo>
                  <a:lnTo>
                    <a:pt x="0" y="2354990"/>
                  </a:lnTo>
                  <a:lnTo>
                    <a:pt x="15835" y="2354990"/>
                  </a:lnTo>
                  <a:lnTo>
                    <a:pt x="34349" y="2301087"/>
                  </a:lnTo>
                  <a:lnTo>
                    <a:pt x="52912" y="2246179"/>
                  </a:lnTo>
                  <a:lnTo>
                    <a:pt x="71132" y="2191446"/>
                  </a:lnTo>
                  <a:lnTo>
                    <a:pt x="89008" y="2136914"/>
                  </a:lnTo>
                  <a:lnTo>
                    <a:pt x="106540" y="2082613"/>
                  </a:lnTo>
                  <a:lnTo>
                    <a:pt x="123731" y="2028572"/>
                  </a:lnTo>
                  <a:lnTo>
                    <a:pt x="140579" y="1974818"/>
                  </a:lnTo>
                  <a:lnTo>
                    <a:pt x="157086" y="1921382"/>
                  </a:lnTo>
                  <a:lnTo>
                    <a:pt x="173252" y="1868291"/>
                  </a:lnTo>
                  <a:lnTo>
                    <a:pt x="189078" y="1815575"/>
                  </a:lnTo>
                  <a:lnTo>
                    <a:pt x="204565" y="1763261"/>
                  </a:lnTo>
                  <a:lnTo>
                    <a:pt x="219712" y="1711378"/>
                  </a:lnTo>
                  <a:lnTo>
                    <a:pt x="234521" y="1659956"/>
                  </a:lnTo>
                  <a:lnTo>
                    <a:pt x="248993" y="1609023"/>
                  </a:lnTo>
                  <a:lnTo>
                    <a:pt x="263127" y="1558608"/>
                  </a:lnTo>
                  <a:lnTo>
                    <a:pt x="276924" y="1508738"/>
                  </a:lnTo>
                  <a:lnTo>
                    <a:pt x="290386" y="1459444"/>
                  </a:lnTo>
                  <a:lnTo>
                    <a:pt x="303512" y="1410753"/>
                  </a:lnTo>
                  <a:lnTo>
                    <a:pt x="316303" y="1362694"/>
                  </a:lnTo>
                  <a:lnTo>
                    <a:pt x="328759" y="1315297"/>
                  </a:lnTo>
                  <a:lnTo>
                    <a:pt x="340882" y="1268589"/>
                  </a:lnTo>
                  <a:lnTo>
                    <a:pt x="352672" y="1222599"/>
                  </a:lnTo>
                  <a:lnTo>
                    <a:pt x="364130" y="1177356"/>
                  </a:lnTo>
                  <a:lnTo>
                    <a:pt x="375255" y="1132889"/>
                  </a:lnTo>
                  <a:lnTo>
                    <a:pt x="386049" y="1089226"/>
                  </a:lnTo>
                  <a:lnTo>
                    <a:pt x="396512" y="1046396"/>
                  </a:lnTo>
                  <a:lnTo>
                    <a:pt x="406645" y="1004427"/>
                  </a:lnTo>
                  <a:lnTo>
                    <a:pt x="416449" y="963349"/>
                  </a:lnTo>
                  <a:lnTo>
                    <a:pt x="425923" y="923190"/>
                  </a:lnTo>
                  <a:lnTo>
                    <a:pt x="435069" y="883979"/>
                  </a:lnTo>
                  <a:lnTo>
                    <a:pt x="443887" y="845744"/>
                  </a:lnTo>
                  <a:lnTo>
                    <a:pt x="452378" y="808514"/>
                  </a:lnTo>
                  <a:lnTo>
                    <a:pt x="475565" y="704827"/>
                  </a:lnTo>
                  <a:lnTo>
                    <a:pt x="489753" y="639764"/>
                  </a:lnTo>
                  <a:lnTo>
                    <a:pt x="503113" y="577238"/>
                  </a:lnTo>
                  <a:lnTo>
                    <a:pt x="515653" y="517357"/>
                  </a:lnTo>
                  <a:lnTo>
                    <a:pt x="527382" y="460230"/>
                  </a:lnTo>
                  <a:lnTo>
                    <a:pt x="538307" y="405965"/>
                  </a:lnTo>
                  <a:lnTo>
                    <a:pt x="548436" y="354673"/>
                  </a:lnTo>
                  <a:lnTo>
                    <a:pt x="557777" y="306460"/>
                  </a:lnTo>
                  <a:lnTo>
                    <a:pt x="566339" y="261437"/>
                  </a:lnTo>
                  <a:lnTo>
                    <a:pt x="574129" y="219710"/>
                  </a:lnTo>
                  <a:lnTo>
                    <a:pt x="581154" y="181391"/>
                  </a:lnTo>
                  <a:lnTo>
                    <a:pt x="592946" y="115405"/>
                  </a:lnTo>
                  <a:lnTo>
                    <a:pt x="603471" y="115405"/>
                  </a:lnTo>
                  <a:lnTo>
                    <a:pt x="598701" y="0"/>
                  </a:lnTo>
                  <a:close/>
                </a:path>
                <a:path w="639445" h="2355215">
                  <a:moveTo>
                    <a:pt x="603471" y="115405"/>
                  </a:moveTo>
                  <a:lnTo>
                    <a:pt x="592946" y="115405"/>
                  </a:lnTo>
                  <a:lnTo>
                    <a:pt x="596521" y="177963"/>
                  </a:lnTo>
                  <a:lnTo>
                    <a:pt x="599878" y="239966"/>
                  </a:lnTo>
                  <a:lnTo>
                    <a:pt x="603021" y="301391"/>
                  </a:lnTo>
                  <a:lnTo>
                    <a:pt x="605956" y="362220"/>
                  </a:lnTo>
                  <a:lnTo>
                    <a:pt x="608689" y="422431"/>
                  </a:lnTo>
                  <a:lnTo>
                    <a:pt x="611225" y="482004"/>
                  </a:lnTo>
                  <a:lnTo>
                    <a:pt x="613570" y="540918"/>
                  </a:lnTo>
                  <a:lnTo>
                    <a:pt x="615735" y="599270"/>
                  </a:lnTo>
                  <a:lnTo>
                    <a:pt x="617712" y="656688"/>
                  </a:lnTo>
                  <a:lnTo>
                    <a:pt x="619518" y="713503"/>
                  </a:lnTo>
                  <a:lnTo>
                    <a:pt x="621230" y="772318"/>
                  </a:lnTo>
                  <a:lnTo>
                    <a:pt x="622633" y="824888"/>
                  </a:lnTo>
                  <a:lnTo>
                    <a:pt x="624052" y="883979"/>
                  </a:lnTo>
                  <a:lnTo>
                    <a:pt x="625121" y="933146"/>
                  </a:lnTo>
                  <a:lnTo>
                    <a:pt x="626143" y="986051"/>
                  </a:lnTo>
                  <a:lnTo>
                    <a:pt x="627026" y="1038111"/>
                  </a:lnTo>
                  <a:lnTo>
                    <a:pt x="627774" y="1089308"/>
                  </a:lnTo>
                  <a:lnTo>
                    <a:pt x="628394" y="1139620"/>
                  </a:lnTo>
                  <a:lnTo>
                    <a:pt x="628891" y="1189026"/>
                  </a:lnTo>
                  <a:lnTo>
                    <a:pt x="629271" y="1237507"/>
                  </a:lnTo>
                  <a:lnTo>
                    <a:pt x="629539" y="1285041"/>
                  </a:lnTo>
                  <a:lnTo>
                    <a:pt x="629730" y="1421760"/>
                  </a:lnTo>
                  <a:lnTo>
                    <a:pt x="629609" y="1465304"/>
                  </a:lnTo>
                  <a:lnTo>
                    <a:pt x="629397" y="1508738"/>
                  </a:lnTo>
                  <a:lnTo>
                    <a:pt x="629121" y="1549222"/>
                  </a:lnTo>
                  <a:lnTo>
                    <a:pt x="628767" y="1589556"/>
                  </a:lnTo>
                  <a:lnTo>
                    <a:pt x="628346" y="1628780"/>
                  </a:lnTo>
                  <a:lnTo>
                    <a:pt x="627204" y="1711378"/>
                  </a:lnTo>
                  <a:lnTo>
                    <a:pt x="625171" y="1819853"/>
                  </a:lnTo>
                  <a:lnTo>
                    <a:pt x="623368" y="1895900"/>
                  </a:lnTo>
                  <a:lnTo>
                    <a:pt x="621379" y="1967575"/>
                  </a:lnTo>
                  <a:lnTo>
                    <a:pt x="619253" y="2034730"/>
                  </a:lnTo>
                  <a:lnTo>
                    <a:pt x="617037" y="2097216"/>
                  </a:lnTo>
                  <a:lnTo>
                    <a:pt x="614779" y="2154885"/>
                  </a:lnTo>
                  <a:lnTo>
                    <a:pt x="612527" y="2207591"/>
                  </a:lnTo>
                  <a:lnTo>
                    <a:pt x="610328" y="2255185"/>
                  </a:lnTo>
                  <a:lnTo>
                    <a:pt x="608230" y="2297519"/>
                  </a:lnTo>
                  <a:lnTo>
                    <a:pt x="605133" y="2354990"/>
                  </a:lnTo>
                  <a:lnTo>
                    <a:pt x="617548" y="2354990"/>
                  </a:lnTo>
                  <a:lnTo>
                    <a:pt x="623238" y="2253759"/>
                  </a:lnTo>
                  <a:lnTo>
                    <a:pt x="639400" y="1742000"/>
                  </a:lnTo>
                  <a:lnTo>
                    <a:pt x="638746" y="968959"/>
                  </a:lnTo>
                  <a:lnTo>
                    <a:pt x="603471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528319" y="297942"/>
            <a:ext cx="485457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5" dirty="0"/>
              <a:t>Opinioni</a:t>
            </a:r>
            <a:r>
              <a:rPr dirty="0"/>
              <a:t> </a:t>
            </a:r>
            <a:r>
              <a:rPr spc="-5" dirty="0"/>
              <a:t>i</a:t>
            </a:r>
            <a:r>
              <a:rPr spc="-10" dirty="0"/>
              <a:t> Shoqërisë Audituese</a:t>
            </a:r>
          </a:p>
        </p:txBody>
      </p:sp>
      <p:grpSp>
        <p:nvGrpSpPr>
          <p:cNvPr id="12" name="object 12"/>
          <p:cNvGrpSpPr/>
          <p:nvPr/>
        </p:nvGrpSpPr>
        <p:grpSpPr>
          <a:xfrm>
            <a:off x="449579" y="6356608"/>
            <a:ext cx="1301750" cy="359410"/>
            <a:chOff x="449579" y="6356608"/>
            <a:chExt cx="1301750" cy="359410"/>
          </a:xfrm>
        </p:grpSpPr>
        <p:sp>
          <p:nvSpPr>
            <p:cNvPr id="13" name="object 13"/>
            <p:cNvSpPr/>
            <p:nvPr/>
          </p:nvSpPr>
          <p:spPr>
            <a:xfrm>
              <a:off x="449579" y="635660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0" y="129564"/>
                  </a:lnTo>
                  <a:lnTo>
                    <a:pt x="1133632" y="168528"/>
                  </a:lnTo>
                  <a:lnTo>
                    <a:pt x="1162259" y="197435"/>
                  </a:lnTo>
                  <a:lnTo>
                    <a:pt x="1202791" y="212195"/>
                  </a:lnTo>
                  <a:lnTo>
                    <a:pt x="1227480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2" y="16609"/>
                  </a:lnTo>
                  <a:lnTo>
                    <a:pt x="1276622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5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449579" y="664470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29</a:t>
            </a:fld>
            <a:endParaRPr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C33E51EA-FFDB-B069-1125-A71FAD71F7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635" y="1120975"/>
            <a:ext cx="5167841" cy="5176807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2C1CC6E2-4B52-D04C-4E1C-8D255670F4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16154" y="1615440"/>
            <a:ext cx="5649511" cy="316325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3EFCD776-78CF-6817-336C-4DE56ED6E8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05508" y="4674064"/>
            <a:ext cx="5649511" cy="1507098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object 7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203517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5" dirty="0"/>
              <a:t>P</a:t>
            </a:r>
            <a:r>
              <a:rPr spc="-5" dirty="0"/>
              <a:t>ËRMBAJT</a:t>
            </a:r>
            <a:r>
              <a:rPr spc="-15" dirty="0"/>
              <a:t>J</a:t>
            </a:r>
            <a:r>
              <a:rPr spc="-5" dirty="0"/>
              <a:t>A</a:t>
            </a:r>
          </a:p>
        </p:txBody>
      </p:sp>
      <p:grpSp>
        <p:nvGrpSpPr>
          <p:cNvPr id="8" name="object 8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9" name="object 9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10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aphicFrame>
        <p:nvGraphicFramePr>
          <p:cNvPr id="11" name="object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9145122"/>
              </p:ext>
            </p:extLst>
          </p:nvPr>
        </p:nvGraphicFramePr>
        <p:xfrm>
          <a:off x="515467" y="1519818"/>
          <a:ext cx="9263377" cy="323848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6321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0936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63283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5795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27853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Struktura</a:t>
                      </a:r>
                      <a:r>
                        <a:rPr sz="1200" spc="-4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e</a:t>
                      </a:r>
                      <a:r>
                        <a:rPr sz="1200" spc="-2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ntersig</a:t>
                      </a:r>
                      <a:r>
                        <a:rPr sz="1200" spc="-1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VIG</a:t>
                      </a:r>
                      <a:endParaRPr sz="1200" dirty="0">
                        <a:latin typeface="Ebrima"/>
                        <a:cs typeface="Ebrima"/>
                      </a:endParaRPr>
                    </a:p>
                  </a:txBody>
                  <a:tcPr marL="0" marR="0" marT="12065" marB="0"/>
                </a:tc>
                <a:tc>
                  <a:txBody>
                    <a:bodyPr/>
                    <a:lstStyle/>
                    <a:p>
                      <a:pPr marR="31750" algn="ctr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4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12065" marB="0"/>
                </a:tc>
                <a:tc>
                  <a:txBody>
                    <a:bodyPr/>
                    <a:lstStyle/>
                    <a:p>
                      <a:pPr marL="551180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200" b="1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Tregu</a:t>
                      </a:r>
                      <a:r>
                        <a:rPr sz="1200" b="1" spc="-3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b="1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</a:t>
                      </a:r>
                      <a:r>
                        <a:rPr sz="1200" b="1" spc="-2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Sigurimeve</a:t>
                      </a:r>
                      <a:r>
                        <a:rPr sz="1200" b="1" spc="-2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në</a:t>
                      </a:r>
                      <a:r>
                        <a:rPr sz="1200" b="1" spc="-1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Shqipëri </a:t>
                      </a:r>
                      <a:r>
                        <a:rPr sz="1200" b="1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-</a:t>
                      </a:r>
                      <a:r>
                        <a:rPr sz="1200" b="1" spc="-1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b="1" spc="5" dirty="0" smtClean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202</a:t>
                      </a:r>
                      <a:r>
                        <a:rPr lang="en-US" sz="1200" b="1" spc="5" dirty="0" smtClean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2</a:t>
                      </a:r>
                      <a:endParaRPr sz="1200" dirty="0">
                        <a:latin typeface="Ebrima"/>
                        <a:cs typeface="Ebrima"/>
                      </a:endParaRPr>
                    </a:p>
                  </a:txBody>
                  <a:tcPr marL="0" marR="0" marT="12065" marB="0"/>
                </a:tc>
                <a:tc>
                  <a:txBody>
                    <a:bodyPr/>
                    <a:lstStyle/>
                    <a:p>
                      <a:pPr marL="382270">
                        <a:lnSpc>
                          <a:spcPct val="100000"/>
                        </a:lnSpc>
                        <a:spcBef>
                          <a:spcPts val="95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12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12065" marB="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Organizimi</a:t>
                      </a:r>
                      <a:r>
                        <a:rPr sz="1200" spc="-3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</a:t>
                      </a:r>
                      <a:r>
                        <a:rPr sz="1200" spc="-2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ntersig</a:t>
                      </a: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VIG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275" marB="0"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R="3175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5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275" marB="0"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55118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ntersig</a:t>
                      </a:r>
                      <a:r>
                        <a:rPr sz="1200" spc="-2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VIG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në</a:t>
                      </a:r>
                      <a:r>
                        <a:rPr sz="1200" spc="-3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Tregun</a:t>
                      </a:r>
                      <a:r>
                        <a:rPr sz="1200" spc="-2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Shqiptar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275" marB="0"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38227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13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275" marB="0"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Historiku</a:t>
                      </a:r>
                      <a:r>
                        <a:rPr sz="1200" spc="-3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</a:t>
                      </a:r>
                      <a:r>
                        <a:rPr sz="1200" spc="-3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ntersig</a:t>
                      </a:r>
                      <a:r>
                        <a:rPr sz="1200" spc="-2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VIG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275" marB="0"/>
                </a:tc>
                <a:tc>
                  <a:txBody>
                    <a:bodyPr/>
                    <a:lstStyle/>
                    <a:p>
                      <a:pPr marR="3175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6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275" marB="0"/>
                </a:tc>
                <a:tc>
                  <a:txBody>
                    <a:bodyPr/>
                    <a:lstStyle/>
                    <a:p>
                      <a:pPr marL="55118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Tregues</a:t>
                      </a:r>
                      <a:r>
                        <a:rPr sz="1200" spc="-3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për</a:t>
                      </a:r>
                      <a:r>
                        <a:rPr sz="1200" spc="-4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 err="1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vitin</a:t>
                      </a:r>
                      <a:r>
                        <a:rPr sz="1200" spc="-3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 smtClean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202</a:t>
                      </a:r>
                      <a:r>
                        <a:rPr lang="en-US" sz="1200" dirty="0" smtClean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2</a:t>
                      </a:r>
                      <a:endParaRPr sz="1200" dirty="0">
                        <a:latin typeface="Ebrima"/>
                        <a:cs typeface="Ebrima"/>
                      </a:endParaRPr>
                    </a:p>
                  </a:txBody>
                  <a:tcPr marL="0" marR="0" marT="41275" marB="0"/>
                </a:tc>
                <a:tc>
                  <a:txBody>
                    <a:bodyPr/>
                    <a:lstStyle/>
                    <a:p>
                      <a:pPr marL="38227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14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275" marB="0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Vienna</a:t>
                      </a:r>
                      <a:r>
                        <a:rPr sz="1200" spc="-3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nsurance</a:t>
                      </a:r>
                      <a:r>
                        <a:rPr sz="1200" spc="-4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Group</a:t>
                      </a:r>
                      <a:r>
                        <a:rPr sz="1200" spc="-5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(VIG)</a:t>
                      </a:r>
                      <a:endParaRPr sz="1200" dirty="0">
                        <a:latin typeface="Ebrima"/>
                        <a:cs typeface="Ebrima"/>
                      </a:endParaRPr>
                    </a:p>
                  </a:txBody>
                  <a:tcPr marL="0" marR="0" marT="41910" marB="0"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R="3175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7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910" marB="0"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55118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Menaxhimi</a:t>
                      </a:r>
                      <a:r>
                        <a:rPr sz="1200" spc="-5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 err="1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</a:t>
                      </a:r>
                      <a:r>
                        <a:rPr sz="1200" spc="-1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spc="-5" dirty="0" err="1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Riskut</a:t>
                      </a:r>
                      <a:r>
                        <a:rPr lang="en-US"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endParaRPr sz="1200" dirty="0">
                        <a:latin typeface="Ebrima"/>
                        <a:cs typeface="Ebrima"/>
                      </a:endParaRPr>
                    </a:p>
                  </a:txBody>
                  <a:tcPr marL="0" marR="0" marT="41910" marB="0"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38227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15-17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910" marB="0"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39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Garanci</a:t>
                      </a:r>
                      <a:r>
                        <a:rPr sz="1200" spc="-5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për</a:t>
                      </a:r>
                      <a:r>
                        <a:rPr sz="1200" spc="-3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çdo</a:t>
                      </a:r>
                      <a:r>
                        <a:rPr sz="1200" spc="-3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risk</a:t>
                      </a:r>
                      <a:endParaRPr sz="1200" dirty="0">
                        <a:latin typeface="Ebrima"/>
                        <a:cs typeface="Ebrima"/>
                      </a:endParaRPr>
                    </a:p>
                  </a:txBody>
                  <a:tcPr marL="0" marR="0" marT="41910" marB="0"/>
                </a:tc>
                <a:tc>
                  <a:txBody>
                    <a:bodyPr/>
                    <a:lstStyle/>
                    <a:p>
                      <a:pPr marR="3175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8</a:t>
                      </a:r>
                      <a:endParaRPr sz="1200" dirty="0">
                        <a:latin typeface="Ebrima"/>
                        <a:cs typeface="Ebrima"/>
                      </a:endParaRPr>
                    </a:p>
                  </a:txBody>
                  <a:tcPr marL="0" marR="0" marT="41910" marB="0"/>
                </a:tc>
                <a:tc>
                  <a:txBody>
                    <a:bodyPr/>
                    <a:lstStyle/>
                    <a:p>
                      <a:pPr marL="55118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Raporti</a:t>
                      </a:r>
                      <a:r>
                        <a:rPr sz="1200" spc="-5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</a:t>
                      </a:r>
                      <a:r>
                        <a:rPr sz="1200" spc="-2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Auditit</a:t>
                      </a:r>
                      <a:r>
                        <a:rPr sz="1200" spc="-2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 err="1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të</a:t>
                      </a:r>
                      <a:r>
                        <a:rPr sz="1200" spc="-2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spc="-5" dirty="0" err="1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Brendshëm</a:t>
                      </a:r>
                      <a:r>
                        <a:rPr lang="en-US"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endParaRPr sz="1200" dirty="0">
                        <a:latin typeface="Ebrima"/>
                        <a:cs typeface="Ebrima"/>
                      </a:endParaRPr>
                    </a:p>
                  </a:txBody>
                  <a:tcPr marL="0" marR="0" marT="41910" marB="0"/>
                </a:tc>
                <a:tc>
                  <a:txBody>
                    <a:bodyPr/>
                    <a:lstStyle/>
                    <a:p>
                      <a:pPr marL="38227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18-20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910" marB="0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ntersig</a:t>
                      </a:r>
                      <a:r>
                        <a:rPr sz="1200" spc="-3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në</a:t>
                      </a:r>
                      <a:r>
                        <a:rPr sz="1200" spc="-3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Shqipëri</a:t>
                      </a:r>
                      <a:endParaRPr sz="1200" dirty="0">
                        <a:latin typeface="Ebrima"/>
                        <a:cs typeface="Ebrima"/>
                      </a:endParaRPr>
                    </a:p>
                  </a:txBody>
                  <a:tcPr marL="0" marR="0" marT="41910" marB="0"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R="3175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9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910" marB="0"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55118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spc="-5" dirty="0" err="1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Pasqyrat</a:t>
                      </a:r>
                      <a:r>
                        <a:rPr sz="1200" spc="-1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spc="-5" dirty="0" err="1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Financiare</a:t>
                      </a:r>
                      <a:r>
                        <a:rPr lang="en-US"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endParaRPr sz="1200" dirty="0">
                        <a:latin typeface="Ebrima"/>
                        <a:cs typeface="Ebrima"/>
                      </a:endParaRPr>
                    </a:p>
                  </a:txBody>
                  <a:tcPr marL="0" marR="0" marT="41910" marB="0"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38227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21-25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910" marB="0"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99326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Vizioni</a:t>
                      </a:r>
                      <a:r>
                        <a:rPr sz="1200" spc="-3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dhe</a:t>
                      </a:r>
                      <a:r>
                        <a:rPr sz="1200" spc="-1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Misioni</a:t>
                      </a:r>
                      <a:r>
                        <a:rPr sz="1200" spc="-4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</a:t>
                      </a:r>
                      <a:r>
                        <a:rPr sz="1200" spc="-1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ntersig</a:t>
                      </a: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VIG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910" marB="0"/>
                </a:tc>
                <a:tc>
                  <a:txBody>
                    <a:bodyPr/>
                    <a:lstStyle/>
                    <a:p>
                      <a:pPr marL="4191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10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910" marB="0"/>
                </a:tc>
                <a:tc>
                  <a:txBody>
                    <a:bodyPr/>
                    <a:lstStyle/>
                    <a:p>
                      <a:pPr marL="55118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Plani</a:t>
                      </a:r>
                      <a:r>
                        <a:rPr sz="1200" spc="-3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 err="1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për</a:t>
                      </a:r>
                      <a:r>
                        <a:rPr sz="1200" spc="-5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spc="-5" dirty="0" smtClean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202</a:t>
                      </a:r>
                      <a:r>
                        <a:rPr lang="en-US" sz="1200" spc="-5" dirty="0" smtClean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3</a:t>
                      </a:r>
                      <a:endParaRPr sz="1200" dirty="0">
                        <a:latin typeface="Ebrima"/>
                        <a:cs typeface="Ebrima"/>
                      </a:endParaRPr>
                    </a:p>
                  </a:txBody>
                  <a:tcPr marL="0" marR="0" marT="41910" marB="0"/>
                </a:tc>
                <a:tc>
                  <a:txBody>
                    <a:bodyPr/>
                    <a:lstStyle/>
                    <a:p>
                      <a:pPr marL="38227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26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910" marB="0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70750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spc="-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Stafi</a:t>
                      </a:r>
                      <a:r>
                        <a:rPr sz="1200" spc="-3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</a:t>
                      </a:r>
                      <a:r>
                        <a:rPr sz="1200" spc="-35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 </a:t>
                      </a: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Intersig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910" marB="0"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4191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11</a:t>
                      </a:r>
                      <a:endParaRPr sz="1200" dirty="0">
                        <a:latin typeface="Ebrima"/>
                        <a:cs typeface="Ebrima"/>
                      </a:endParaRPr>
                    </a:p>
                  </a:txBody>
                  <a:tcPr marL="0" marR="0" marT="41910" marB="0"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55118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dirty="0" err="1" smtClean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Kontakt</a:t>
                      </a:r>
                      <a:endParaRPr sz="1200" dirty="0">
                        <a:latin typeface="Ebrima"/>
                        <a:cs typeface="Ebrima"/>
                      </a:endParaRPr>
                    </a:p>
                  </a:txBody>
                  <a:tcPr marL="0" marR="0" marT="41910" marB="0">
                    <a:solidFill>
                      <a:srgbClr val="ECECEC"/>
                    </a:solidFill>
                  </a:tcPr>
                </a:tc>
                <a:tc>
                  <a:txBody>
                    <a:bodyPr/>
                    <a:lstStyle/>
                    <a:p>
                      <a:pPr marL="38227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200" dirty="0">
                          <a:solidFill>
                            <a:srgbClr val="404040"/>
                          </a:solidFill>
                          <a:latin typeface="Ebrima"/>
                          <a:cs typeface="Ebrima"/>
                        </a:rPr>
                        <a:t>27</a:t>
                      </a:r>
                      <a:endParaRPr sz="1200">
                        <a:latin typeface="Ebrima"/>
                        <a:cs typeface="Ebrima"/>
                      </a:endParaRPr>
                    </a:p>
                  </a:txBody>
                  <a:tcPr marL="0" marR="0" marT="41910" marB="0">
                    <a:solidFill>
                      <a:srgbClr val="ECECE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3" name="object 3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" name="object 5"/>
          <p:cNvGrpSpPr/>
          <p:nvPr/>
        </p:nvGrpSpPr>
        <p:grpSpPr>
          <a:xfrm>
            <a:off x="8984279" y="12696"/>
            <a:ext cx="3208020" cy="6845300"/>
            <a:chOff x="8984279" y="12696"/>
            <a:chExt cx="3208020" cy="6845300"/>
          </a:xfrm>
        </p:grpSpPr>
        <p:sp>
          <p:nvSpPr>
            <p:cNvPr id="6" name="object 6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30</a:t>
            </a:fld>
            <a:endParaRPr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A804F823-1E80-C0A3-E254-06823AA04D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95600" y="364248"/>
            <a:ext cx="6017438" cy="6158537"/>
          </a:xfrm>
          <a:prstGeom prst="rect">
            <a:avLst/>
          </a:prstGeom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173726" y="240919"/>
            <a:ext cx="3569335" cy="57404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5080" indent="1905" algn="ctr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7E7E7E"/>
                </a:solidFill>
                <a:latin typeface="Ebrima"/>
                <a:cs typeface="Ebrima"/>
              </a:rPr>
              <a:t>Pasqyrat Financiare sipas Standardeve </a:t>
            </a:r>
            <a:r>
              <a:rPr sz="12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Ebrima"/>
                <a:cs typeface="Ebrima"/>
              </a:rPr>
              <a:t>Ndërkombëtare </a:t>
            </a:r>
            <a:r>
              <a:rPr sz="1200" dirty="0">
                <a:solidFill>
                  <a:srgbClr val="7E7E7E"/>
                </a:solidFill>
                <a:latin typeface="Ebrima"/>
                <a:cs typeface="Ebrima"/>
              </a:rPr>
              <a:t>të </a:t>
            </a:r>
            <a:r>
              <a:rPr sz="1200" spc="-5" dirty="0">
                <a:solidFill>
                  <a:srgbClr val="7E7E7E"/>
                </a:solidFill>
                <a:latin typeface="Ebrima"/>
                <a:cs typeface="Ebrima"/>
              </a:rPr>
              <a:t>Raportimit Financiar </a:t>
            </a:r>
            <a:r>
              <a:rPr sz="1200" dirty="0">
                <a:solidFill>
                  <a:srgbClr val="7E7E7E"/>
                </a:solidFill>
                <a:latin typeface="Ebrima"/>
                <a:cs typeface="Ebrima"/>
              </a:rPr>
              <a:t>dhe </a:t>
            </a:r>
            <a:r>
              <a:rPr sz="1200" spc="-5" dirty="0">
                <a:solidFill>
                  <a:srgbClr val="7E7E7E"/>
                </a:solidFill>
                <a:latin typeface="Ebrima"/>
                <a:cs typeface="Ebrima"/>
              </a:rPr>
              <a:t>Skedulet </a:t>
            </a:r>
            <a:r>
              <a:rPr sz="1200" spc="-31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Ebrima"/>
                <a:cs typeface="Ebrima"/>
              </a:rPr>
              <a:t>Suplementare</a:t>
            </a:r>
            <a:r>
              <a:rPr sz="1200" spc="-3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7E7E7E"/>
                </a:solidFill>
                <a:latin typeface="Ebrima"/>
                <a:cs typeface="Ebrima"/>
              </a:rPr>
              <a:t>më</a:t>
            </a:r>
            <a:r>
              <a:rPr sz="1200" dirty="0">
                <a:solidFill>
                  <a:srgbClr val="7E7E7E"/>
                </a:solidFill>
                <a:latin typeface="Ebrima"/>
                <a:cs typeface="Ebrima"/>
              </a:rPr>
              <a:t> 31</a:t>
            </a:r>
            <a:r>
              <a:rPr sz="12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200" spc="-5" dirty="0" err="1">
                <a:solidFill>
                  <a:srgbClr val="7E7E7E"/>
                </a:solidFill>
                <a:latin typeface="Ebrima"/>
                <a:cs typeface="Ebrima"/>
              </a:rPr>
              <a:t>dhjetor</a:t>
            </a:r>
            <a:r>
              <a:rPr sz="1200" spc="-3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7E7E7E"/>
                </a:solidFill>
                <a:latin typeface="Ebrima"/>
                <a:cs typeface="Ebrima"/>
              </a:rPr>
              <a:t>202</a:t>
            </a:r>
            <a:r>
              <a:rPr lang="en-US" sz="1200" dirty="0">
                <a:solidFill>
                  <a:srgbClr val="7E7E7E"/>
                </a:solidFill>
                <a:latin typeface="Ebrima"/>
                <a:cs typeface="Ebrima"/>
              </a:rPr>
              <a:t>2</a:t>
            </a:r>
            <a:endParaRPr sz="1200" dirty="0">
              <a:latin typeface="Ebrima"/>
              <a:cs typeface="Ebrima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0" y="17"/>
            <a:ext cx="12192299" cy="6858507"/>
            <a:chOff x="0" y="17"/>
            <a:chExt cx="12192299" cy="6858507"/>
          </a:xfrm>
        </p:grpSpPr>
        <p:sp>
          <p:nvSpPr>
            <p:cNvPr id="4" name="object 4"/>
            <p:cNvSpPr/>
            <p:nvPr/>
          </p:nvSpPr>
          <p:spPr>
            <a:xfrm>
              <a:off x="0" y="844295"/>
              <a:ext cx="12192000" cy="45720"/>
            </a:xfrm>
            <a:custGeom>
              <a:avLst/>
              <a:gdLst/>
              <a:ahLst/>
              <a:cxnLst/>
              <a:rect l="l" t="t" r="r" b="b"/>
              <a:pathLst>
                <a:path w="12192000" h="45719">
                  <a:moveTo>
                    <a:pt x="12192000" y="0"/>
                  </a:moveTo>
                  <a:lnTo>
                    <a:pt x="0" y="0"/>
                  </a:lnTo>
                  <a:lnTo>
                    <a:pt x="0" y="45720"/>
                  </a:lnTo>
                  <a:lnTo>
                    <a:pt x="12192000" y="45720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000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1" name="object 11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0434828" y="239613"/>
              <a:ext cx="1301162" cy="363220"/>
            </a:xfrm>
            <a:prstGeom prst="rect">
              <a:avLst/>
            </a:prstGeom>
          </p:spPr>
        </p:pic>
      </p:grpSp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528319" y="297942"/>
            <a:ext cx="304038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0" dirty="0"/>
              <a:t>Pasqyrat</a:t>
            </a:r>
            <a:r>
              <a:rPr spc="-30" dirty="0"/>
              <a:t> </a:t>
            </a:r>
            <a:r>
              <a:rPr spc="-10" dirty="0"/>
              <a:t>Financiare</a:t>
            </a:r>
          </a:p>
        </p:txBody>
      </p: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31</a:t>
            </a:fld>
            <a:endParaRPr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F42FE313-581E-B4BA-F6CF-C3A53530D15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951607"/>
            <a:ext cx="4648200" cy="491579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C6BEAFB5-277F-D5CF-6099-D2954348EC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128" y="5791200"/>
            <a:ext cx="4648200" cy="988281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4062456B-D0B3-D35F-5925-5FDB636D464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73310" y="975683"/>
            <a:ext cx="4525471" cy="5489531"/>
          </a:xfrm>
          <a:prstGeom prst="rect">
            <a:avLst/>
          </a:prstGeom>
        </p:spPr>
      </p:pic>
    </p:spTree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32</a:t>
            </a:fld>
            <a:endParaRPr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E26A70C-D43F-8767-6836-7E602D5052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304" y="1371600"/>
            <a:ext cx="10297391" cy="3886200"/>
          </a:xfrm>
          <a:prstGeom prst="rect">
            <a:avLst/>
          </a:prstGeom>
        </p:spPr>
      </p:pic>
    </p:spTree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8984279" y="12696"/>
            <a:ext cx="3207644" cy="6845300"/>
          </a:xfrm>
          <a:prstGeom prst="rect">
            <a:avLst/>
          </a:prstGeom>
        </p:spPr>
      </p:pic>
      <p:sp>
        <p:nvSpPr>
          <p:cNvPr id="4" name="object 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33</a:t>
            </a:fld>
            <a:endParaRPr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7F96AE0E-0E3E-B1C9-F7EF-27EA4BA89D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2800" y="173905"/>
            <a:ext cx="4849347" cy="6324600"/>
          </a:xfrm>
          <a:prstGeom prst="rect">
            <a:avLst/>
          </a:prstGeom>
        </p:spPr>
      </p:pic>
    </p:spTree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xmlns="" id="{D8482F04-92B6-530D-D145-D21BEDAE52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1031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object 2"/>
          <p:cNvGrpSpPr/>
          <p:nvPr/>
        </p:nvGrpSpPr>
        <p:grpSpPr>
          <a:xfrm>
            <a:off x="8984279" y="17"/>
            <a:ext cx="3208020" cy="6858507"/>
            <a:chOff x="8984279" y="17"/>
            <a:chExt cx="3208020" cy="6858507"/>
          </a:xfrm>
        </p:grpSpPr>
        <p:sp>
          <p:nvSpPr>
            <p:cNvPr id="3" name="object 3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249301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5" dirty="0" err="1"/>
              <a:t>Objektivat</a:t>
            </a:r>
            <a:r>
              <a:rPr spc="-55" dirty="0"/>
              <a:t> </a:t>
            </a:r>
            <a:r>
              <a:rPr spc="-5" dirty="0"/>
              <a:t>202</a:t>
            </a:r>
            <a:r>
              <a:rPr lang="en-US" spc="-5" dirty="0"/>
              <a:t>3</a:t>
            </a:r>
            <a:endParaRPr spc="-5" dirty="0"/>
          </a:p>
        </p:txBody>
      </p:sp>
      <p:grpSp>
        <p:nvGrpSpPr>
          <p:cNvPr id="9" name="object 9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0" name="object 10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34</a:t>
            </a:fld>
            <a:endParaRPr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9E7336CB-C1DC-D11C-C68D-EA4AE1C1B4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10000" y="1519237"/>
            <a:ext cx="2895600" cy="3819525"/>
          </a:xfrm>
          <a:prstGeom prst="rect">
            <a:avLst/>
          </a:prstGeom>
        </p:spPr>
      </p:pic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4019550" y="4476115"/>
            <a:ext cx="3588385" cy="15519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905" algn="ctr">
              <a:lnSpc>
                <a:spcPct val="100000"/>
              </a:lnSpc>
              <a:spcBef>
                <a:spcPts val="95"/>
              </a:spcBef>
            </a:pPr>
            <a:r>
              <a:rPr sz="1600" b="1" spc="-5" dirty="0">
                <a:solidFill>
                  <a:srgbClr val="FF0004"/>
                </a:solidFill>
                <a:latin typeface="Ebrima"/>
                <a:cs typeface="Ebrima"/>
              </a:rPr>
              <a:t>KONTAKT</a:t>
            </a:r>
            <a:endParaRPr sz="1600">
              <a:latin typeface="Ebrima"/>
              <a:cs typeface="Ebrima"/>
            </a:endParaRPr>
          </a:p>
          <a:p>
            <a:pPr algn="ctr">
              <a:lnSpc>
                <a:spcPct val="100000"/>
              </a:lnSpc>
              <a:spcBef>
                <a:spcPts val="20"/>
              </a:spcBef>
            </a:pPr>
            <a:r>
              <a:rPr sz="1400" spc="-5" dirty="0">
                <a:solidFill>
                  <a:srgbClr val="7E7E7E"/>
                </a:solidFill>
                <a:latin typeface="Ebrima"/>
                <a:cs typeface="Ebrima"/>
              </a:rPr>
              <a:t>Dega</a:t>
            </a:r>
            <a:r>
              <a:rPr sz="1400" spc="-3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7E7E7E"/>
                </a:solidFill>
                <a:latin typeface="Ebrima"/>
                <a:cs typeface="Ebrima"/>
              </a:rPr>
              <a:t>Qendrore</a:t>
            </a:r>
            <a:endParaRPr sz="140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1200">
              <a:latin typeface="Ebrima"/>
              <a:cs typeface="Ebrima"/>
            </a:endParaRPr>
          </a:p>
          <a:p>
            <a:pPr algn="ctr">
              <a:lnSpc>
                <a:spcPct val="100000"/>
              </a:lnSpc>
            </a:pPr>
            <a:r>
              <a:rPr sz="1400" dirty="0">
                <a:solidFill>
                  <a:srgbClr val="FF0004"/>
                </a:solidFill>
                <a:latin typeface="Ebrima"/>
                <a:cs typeface="Ebrima"/>
              </a:rPr>
              <a:t>Adresa:</a:t>
            </a:r>
            <a:r>
              <a:rPr sz="1400" spc="-25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Ebrima"/>
                <a:cs typeface="Ebrima"/>
              </a:rPr>
              <a:t>Rruga</a:t>
            </a:r>
            <a:r>
              <a:rPr sz="1400" spc="-1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7E7E7E"/>
                </a:solidFill>
                <a:latin typeface="Ebrima"/>
                <a:cs typeface="Ebrima"/>
              </a:rPr>
              <a:t>“Ismail</a:t>
            </a:r>
            <a:r>
              <a:rPr sz="1400" spc="-1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Ebrima"/>
                <a:cs typeface="Ebrima"/>
              </a:rPr>
              <a:t>Qemali”,  </a:t>
            </a:r>
            <a:r>
              <a:rPr sz="1400" dirty="0">
                <a:solidFill>
                  <a:srgbClr val="7E7E7E"/>
                </a:solidFill>
                <a:latin typeface="Ebrima"/>
                <a:cs typeface="Ebrima"/>
              </a:rPr>
              <a:t>Samos</a:t>
            </a:r>
            <a:r>
              <a:rPr sz="1400" spc="-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7E7E7E"/>
                </a:solidFill>
                <a:latin typeface="Ebrima"/>
                <a:cs typeface="Ebrima"/>
              </a:rPr>
              <a:t>Tower,</a:t>
            </a:r>
            <a:endParaRPr sz="1400">
              <a:latin typeface="Ebrima"/>
              <a:cs typeface="Ebrima"/>
            </a:endParaRPr>
          </a:p>
          <a:p>
            <a:pPr marL="635" algn="ctr">
              <a:lnSpc>
                <a:spcPct val="100000"/>
              </a:lnSpc>
            </a:pPr>
            <a:r>
              <a:rPr sz="1400" dirty="0">
                <a:solidFill>
                  <a:srgbClr val="7E7E7E"/>
                </a:solidFill>
                <a:latin typeface="Ebrima"/>
                <a:cs typeface="Ebrima"/>
              </a:rPr>
              <a:t>Kati</a:t>
            </a:r>
            <a:r>
              <a:rPr sz="1400" spc="-2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7E7E7E"/>
                </a:solidFill>
                <a:latin typeface="Ebrima"/>
                <a:cs typeface="Ebrima"/>
              </a:rPr>
              <a:t>i</a:t>
            </a:r>
            <a:r>
              <a:rPr sz="1400" spc="-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7E7E7E"/>
                </a:solidFill>
                <a:latin typeface="Ebrima"/>
                <a:cs typeface="Ebrima"/>
              </a:rPr>
              <a:t>2-të,</a:t>
            </a:r>
            <a:r>
              <a:rPr sz="1400" spc="-1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Ebrima"/>
                <a:cs typeface="Ebrima"/>
              </a:rPr>
              <a:t>Ish-Bllok, Tirane.</a:t>
            </a:r>
            <a:endParaRPr sz="1400">
              <a:latin typeface="Ebrima"/>
              <a:cs typeface="Ebrima"/>
            </a:endParaRPr>
          </a:p>
          <a:p>
            <a:pPr marL="2540" algn="ctr">
              <a:lnSpc>
                <a:spcPct val="100000"/>
              </a:lnSpc>
            </a:pPr>
            <a:r>
              <a:rPr sz="1400" spc="-5" dirty="0">
                <a:solidFill>
                  <a:srgbClr val="FF0004"/>
                </a:solidFill>
                <a:latin typeface="Ebrima"/>
                <a:cs typeface="Ebrima"/>
              </a:rPr>
              <a:t>Tel:</a:t>
            </a:r>
            <a:r>
              <a:rPr sz="1400" spc="-1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Ebrima"/>
                <a:cs typeface="Ebrima"/>
              </a:rPr>
              <a:t>+355</a:t>
            </a:r>
            <a:r>
              <a:rPr sz="1400" spc="-1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7E7E7E"/>
                </a:solidFill>
                <a:latin typeface="Ebrima"/>
                <a:cs typeface="Ebrima"/>
              </a:rPr>
              <a:t>(0)</a:t>
            </a:r>
            <a:r>
              <a:rPr sz="1400" spc="-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7E7E7E"/>
                </a:solidFill>
                <a:latin typeface="Ebrima"/>
                <a:cs typeface="Ebrima"/>
              </a:rPr>
              <a:t>4</a:t>
            </a:r>
            <a:r>
              <a:rPr sz="1400" spc="-5" dirty="0">
                <a:solidFill>
                  <a:srgbClr val="7E7E7E"/>
                </a:solidFill>
                <a:latin typeface="Ebrima"/>
                <a:cs typeface="Ebrima"/>
              </a:rPr>
              <a:t> 22</a:t>
            </a:r>
            <a:r>
              <a:rPr sz="1400" spc="-1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Ebrima"/>
                <a:cs typeface="Ebrima"/>
              </a:rPr>
              <a:t>70</a:t>
            </a:r>
            <a:r>
              <a:rPr sz="1400" spc="-2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Ebrima"/>
                <a:cs typeface="Ebrima"/>
              </a:rPr>
              <a:t>576</a:t>
            </a:r>
            <a:endParaRPr sz="1400">
              <a:latin typeface="Ebrima"/>
              <a:cs typeface="Ebrima"/>
            </a:endParaRPr>
          </a:p>
          <a:p>
            <a:pPr algn="ctr">
              <a:lnSpc>
                <a:spcPct val="100000"/>
              </a:lnSpc>
            </a:pPr>
            <a:r>
              <a:rPr sz="1400" spc="-5" dirty="0">
                <a:solidFill>
                  <a:srgbClr val="FF0004"/>
                </a:solidFill>
                <a:latin typeface="Ebrima"/>
                <a:cs typeface="Ebrima"/>
              </a:rPr>
              <a:t>E-mail:</a:t>
            </a:r>
            <a:r>
              <a:rPr sz="1400" spc="365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7E7E7E"/>
                </a:solidFill>
                <a:latin typeface="Ebrima"/>
                <a:cs typeface="Ebrima"/>
                <a:hlinkClick r:id="rId2"/>
              </a:rPr>
              <a:t>info@intersig.al</a:t>
            </a:r>
            <a:endParaRPr sz="1400">
              <a:latin typeface="Ebrima"/>
              <a:cs typeface="Ebrima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3497567" y="2901238"/>
            <a:ext cx="1546225" cy="612140"/>
          </a:xfrm>
          <a:custGeom>
            <a:avLst/>
            <a:gdLst/>
            <a:ahLst/>
            <a:cxnLst/>
            <a:rect l="l" t="t" r="r" b="b"/>
            <a:pathLst>
              <a:path w="1546225" h="612139">
                <a:moveTo>
                  <a:pt x="545744" y="300088"/>
                </a:moveTo>
                <a:lnTo>
                  <a:pt x="527646" y="265366"/>
                </a:lnTo>
                <a:lnTo>
                  <a:pt x="516191" y="265366"/>
                </a:lnTo>
                <a:lnTo>
                  <a:pt x="511429" y="266319"/>
                </a:lnTo>
                <a:lnTo>
                  <a:pt x="499516" y="269163"/>
                </a:lnTo>
                <a:lnTo>
                  <a:pt x="492848" y="270598"/>
                </a:lnTo>
                <a:lnTo>
                  <a:pt x="456857" y="283260"/>
                </a:lnTo>
                <a:lnTo>
                  <a:pt x="350329" y="339318"/>
                </a:lnTo>
                <a:lnTo>
                  <a:pt x="330492" y="349834"/>
                </a:lnTo>
                <a:lnTo>
                  <a:pt x="321729" y="354304"/>
                </a:lnTo>
                <a:lnTo>
                  <a:pt x="317284" y="334225"/>
                </a:lnTo>
                <a:lnTo>
                  <a:pt x="313270" y="318211"/>
                </a:lnTo>
                <a:lnTo>
                  <a:pt x="291287" y="273570"/>
                </a:lnTo>
                <a:lnTo>
                  <a:pt x="270256" y="265366"/>
                </a:lnTo>
                <a:lnTo>
                  <a:pt x="264909" y="265887"/>
                </a:lnTo>
                <a:lnTo>
                  <a:pt x="258876" y="267449"/>
                </a:lnTo>
                <a:lnTo>
                  <a:pt x="252222" y="269976"/>
                </a:lnTo>
                <a:lnTo>
                  <a:pt x="244995" y="273456"/>
                </a:lnTo>
                <a:lnTo>
                  <a:pt x="213067" y="290093"/>
                </a:lnTo>
                <a:lnTo>
                  <a:pt x="197332" y="297827"/>
                </a:lnTo>
                <a:lnTo>
                  <a:pt x="148717" y="309600"/>
                </a:lnTo>
                <a:lnTo>
                  <a:pt x="144907" y="310070"/>
                </a:lnTo>
                <a:lnTo>
                  <a:pt x="113919" y="343357"/>
                </a:lnTo>
                <a:lnTo>
                  <a:pt x="109829" y="352018"/>
                </a:lnTo>
                <a:lnTo>
                  <a:pt x="106235" y="358813"/>
                </a:lnTo>
                <a:lnTo>
                  <a:pt x="103263" y="363829"/>
                </a:lnTo>
                <a:lnTo>
                  <a:pt x="101053" y="367131"/>
                </a:lnTo>
                <a:lnTo>
                  <a:pt x="80797" y="388124"/>
                </a:lnTo>
                <a:lnTo>
                  <a:pt x="60540" y="409473"/>
                </a:lnTo>
                <a:lnTo>
                  <a:pt x="55626" y="414896"/>
                </a:lnTo>
                <a:lnTo>
                  <a:pt x="50177" y="421170"/>
                </a:lnTo>
                <a:lnTo>
                  <a:pt x="37655" y="436105"/>
                </a:lnTo>
                <a:lnTo>
                  <a:pt x="33375" y="441007"/>
                </a:lnTo>
                <a:lnTo>
                  <a:pt x="4533" y="476643"/>
                </a:lnTo>
                <a:lnTo>
                  <a:pt x="0" y="493166"/>
                </a:lnTo>
                <a:lnTo>
                  <a:pt x="0" y="505066"/>
                </a:lnTo>
                <a:lnTo>
                  <a:pt x="50139" y="489204"/>
                </a:lnTo>
                <a:lnTo>
                  <a:pt x="76581" y="462026"/>
                </a:lnTo>
                <a:lnTo>
                  <a:pt x="113449" y="417550"/>
                </a:lnTo>
                <a:lnTo>
                  <a:pt x="146926" y="383908"/>
                </a:lnTo>
                <a:lnTo>
                  <a:pt x="178269" y="356679"/>
                </a:lnTo>
                <a:lnTo>
                  <a:pt x="214020" y="331228"/>
                </a:lnTo>
                <a:lnTo>
                  <a:pt x="252628" y="310070"/>
                </a:lnTo>
                <a:lnTo>
                  <a:pt x="255930" y="317461"/>
                </a:lnTo>
                <a:lnTo>
                  <a:pt x="260934" y="329399"/>
                </a:lnTo>
                <a:lnTo>
                  <a:pt x="264541" y="339077"/>
                </a:lnTo>
                <a:lnTo>
                  <a:pt x="265493" y="344309"/>
                </a:lnTo>
                <a:lnTo>
                  <a:pt x="265493" y="350024"/>
                </a:lnTo>
                <a:lnTo>
                  <a:pt x="246621" y="393801"/>
                </a:lnTo>
                <a:lnTo>
                  <a:pt x="220687" y="417550"/>
                </a:lnTo>
                <a:lnTo>
                  <a:pt x="205219" y="430047"/>
                </a:lnTo>
                <a:lnTo>
                  <a:pt x="193814" y="442582"/>
                </a:lnTo>
                <a:lnTo>
                  <a:pt x="186436" y="455206"/>
                </a:lnTo>
                <a:lnTo>
                  <a:pt x="183032" y="467969"/>
                </a:lnTo>
                <a:lnTo>
                  <a:pt x="185420" y="468439"/>
                </a:lnTo>
                <a:lnTo>
                  <a:pt x="188747" y="468909"/>
                </a:lnTo>
                <a:lnTo>
                  <a:pt x="193522" y="470344"/>
                </a:lnTo>
                <a:lnTo>
                  <a:pt x="202095" y="470344"/>
                </a:lnTo>
                <a:lnTo>
                  <a:pt x="216471" y="468122"/>
                </a:lnTo>
                <a:lnTo>
                  <a:pt x="232359" y="461543"/>
                </a:lnTo>
                <a:lnTo>
                  <a:pt x="249682" y="450672"/>
                </a:lnTo>
                <a:lnTo>
                  <a:pt x="268351" y="435622"/>
                </a:lnTo>
                <a:lnTo>
                  <a:pt x="280047" y="425907"/>
                </a:lnTo>
                <a:lnTo>
                  <a:pt x="290817" y="417487"/>
                </a:lnTo>
                <a:lnTo>
                  <a:pt x="355193" y="377329"/>
                </a:lnTo>
                <a:lnTo>
                  <a:pt x="389115" y="357276"/>
                </a:lnTo>
                <a:lnTo>
                  <a:pt x="439750" y="330073"/>
                </a:lnTo>
                <a:lnTo>
                  <a:pt x="475310" y="315607"/>
                </a:lnTo>
                <a:lnTo>
                  <a:pt x="492366" y="310070"/>
                </a:lnTo>
                <a:lnTo>
                  <a:pt x="491032" y="324243"/>
                </a:lnTo>
                <a:lnTo>
                  <a:pt x="487006" y="339610"/>
                </a:lnTo>
                <a:lnTo>
                  <a:pt x="480301" y="356146"/>
                </a:lnTo>
                <a:lnTo>
                  <a:pt x="470916" y="373799"/>
                </a:lnTo>
                <a:lnTo>
                  <a:pt x="430403" y="435622"/>
                </a:lnTo>
                <a:lnTo>
                  <a:pt x="421093" y="453720"/>
                </a:lnTo>
                <a:lnTo>
                  <a:pt x="414553" y="470928"/>
                </a:lnTo>
                <a:lnTo>
                  <a:pt x="410705" y="487248"/>
                </a:lnTo>
                <a:lnTo>
                  <a:pt x="409435" y="502678"/>
                </a:lnTo>
                <a:lnTo>
                  <a:pt x="409435" y="510768"/>
                </a:lnTo>
                <a:lnTo>
                  <a:pt x="426110" y="546430"/>
                </a:lnTo>
                <a:lnTo>
                  <a:pt x="431838" y="549757"/>
                </a:lnTo>
                <a:lnTo>
                  <a:pt x="444703" y="549757"/>
                </a:lnTo>
                <a:lnTo>
                  <a:pt x="450430" y="545007"/>
                </a:lnTo>
                <a:lnTo>
                  <a:pt x="454710" y="535978"/>
                </a:lnTo>
                <a:lnTo>
                  <a:pt x="455663" y="533590"/>
                </a:lnTo>
                <a:lnTo>
                  <a:pt x="456145" y="531215"/>
                </a:lnTo>
                <a:lnTo>
                  <a:pt x="456145" y="527888"/>
                </a:lnTo>
                <a:lnTo>
                  <a:pt x="455193" y="521220"/>
                </a:lnTo>
                <a:lnTo>
                  <a:pt x="454240" y="515518"/>
                </a:lnTo>
                <a:lnTo>
                  <a:pt x="452805" y="500303"/>
                </a:lnTo>
                <a:lnTo>
                  <a:pt x="452805" y="489839"/>
                </a:lnTo>
                <a:lnTo>
                  <a:pt x="453288" y="485089"/>
                </a:lnTo>
                <a:lnTo>
                  <a:pt x="454710" y="480326"/>
                </a:lnTo>
                <a:lnTo>
                  <a:pt x="495528" y="411137"/>
                </a:lnTo>
                <a:lnTo>
                  <a:pt x="536702" y="341934"/>
                </a:lnTo>
                <a:lnTo>
                  <a:pt x="543839" y="317677"/>
                </a:lnTo>
                <a:lnTo>
                  <a:pt x="545274" y="312445"/>
                </a:lnTo>
                <a:lnTo>
                  <a:pt x="545744" y="306260"/>
                </a:lnTo>
                <a:lnTo>
                  <a:pt x="545744" y="300088"/>
                </a:lnTo>
                <a:close/>
              </a:path>
              <a:path w="1546225" h="612139">
                <a:moveTo>
                  <a:pt x="889889" y="510768"/>
                </a:moveTo>
                <a:lnTo>
                  <a:pt x="878459" y="508711"/>
                </a:lnTo>
                <a:lnTo>
                  <a:pt x="844588" y="503148"/>
                </a:lnTo>
                <a:lnTo>
                  <a:pt x="835634" y="498259"/>
                </a:lnTo>
                <a:lnTo>
                  <a:pt x="819365" y="460349"/>
                </a:lnTo>
                <a:lnTo>
                  <a:pt x="818857" y="448462"/>
                </a:lnTo>
                <a:lnTo>
                  <a:pt x="819569" y="439115"/>
                </a:lnTo>
                <a:lnTo>
                  <a:pt x="834529" y="403694"/>
                </a:lnTo>
                <a:lnTo>
                  <a:pt x="845540" y="386638"/>
                </a:lnTo>
                <a:lnTo>
                  <a:pt x="852081" y="375234"/>
                </a:lnTo>
                <a:lnTo>
                  <a:pt x="868413" y="337172"/>
                </a:lnTo>
                <a:lnTo>
                  <a:pt x="876452" y="297446"/>
                </a:lnTo>
                <a:lnTo>
                  <a:pt x="876998" y="284861"/>
                </a:lnTo>
                <a:lnTo>
                  <a:pt x="875995" y="276123"/>
                </a:lnTo>
                <a:lnTo>
                  <a:pt x="872959" y="267030"/>
                </a:lnTo>
                <a:lnTo>
                  <a:pt x="871524" y="264414"/>
                </a:lnTo>
                <a:lnTo>
                  <a:pt x="867778" y="257581"/>
                </a:lnTo>
                <a:lnTo>
                  <a:pt x="867016" y="256578"/>
                </a:lnTo>
                <a:lnTo>
                  <a:pt x="867016" y="283908"/>
                </a:lnTo>
                <a:lnTo>
                  <a:pt x="867016" y="292950"/>
                </a:lnTo>
                <a:lnTo>
                  <a:pt x="866063" y="299123"/>
                </a:lnTo>
                <a:lnTo>
                  <a:pt x="864158" y="306260"/>
                </a:lnTo>
                <a:lnTo>
                  <a:pt x="862253" y="313880"/>
                </a:lnTo>
                <a:lnTo>
                  <a:pt x="860348" y="319112"/>
                </a:lnTo>
                <a:lnTo>
                  <a:pt x="858443" y="322910"/>
                </a:lnTo>
                <a:lnTo>
                  <a:pt x="842416" y="325234"/>
                </a:lnTo>
                <a:lnTo>
                  <a:pt x="827913" y="332244"/>
                </a:lnTo>
                <a:lnTo>
                  <a:pt x="814857" y="343979"/>
                </a:lnTo>
                <a:lnTo>
                  <a:pt x="803160" y="360489"/>
                </a:lnTo>
                <a:lnTo>
                  <a:pt x="788581" y="385546"/>
                </a:lnTo>
                <a:lnTo>
                  <a:pt x="777100" y="404418"/>
                </a:lnTo>
                <a:lnTo>
                  <a:pt x="751611" y="434149"/>
                </a:lnTo>
                <a:lnTo>
                  <a:pt x="709688" y="460832"/>
                </a:lnTo>
                <a:lnTo>
                  <a:pt x="659853" y="478218"/>
                </a:lnTo>
                <a:lnTo>
                  <a:pt x="645388" y="479374"/>
                </a:lnTo>
                <a:lnTo>
                  <a:pt x="638048" y="479031"/>
                </a:lnTo>
                <a:lnTo>
                  <a:pt x="600621" y="461010"/>
                </a:lnTo>
                <a:lnTo>
                  <a:pt x="594842" y="441807"/>
                </a:lnTo>
                <a:lnTo>
                  <a:pt x="596531" y="429958"/>
                </a:lnTo>
                <a:lnTo>
                  <a:pt x="621538" y="385203"/>
                </a:lnTo>
                <a:lnTo>
                  <a:pt x="651383" y="352437"/>
                </a:lnTo>
                <a:lnTo>
                  <a:pt x="682193" y="324358"/>
                </a:lnTo>
                <a:lnTo>
                  <a:pt x="712927" y="298996"/>
                </a:lnTo>
                <a:lnTo>
                  <a:pt x="760768" y="272199"/>
                </a:lnTo>
                <a:lnTo>
                  <a:pt x="795032" y="265836"/>
                </a:lnTo>
                <a:lnTo>
                  <a:pt x="798842" y="265836"/>
                </a:lnTo>
                <a:lnTo>
                  <a:pt x="803160" y="265366"/>
                </a:lnTo>
                <a:lnTo>
                  <a:pt x="812685" y="264414"/>
                </a:lnTo>
                <a:lnTo>
                  <a:pt x="833653" y="264414"/>
                </a:lnTo>
                <a:lnTo>
                  <a:pt x="864603" y="278676"/>
                </a:lnTo>
                <a:lnTo>
                  <a:pt x="866063" y="280581"/>
                </a:lnTo>
                <a:lnTo>
                  <a:pt x="867016" y="283908"/>
                </a:lnTo>
                <a:lnTo>
                  <a:pt x="867016" y="256578"/>
                </a:lnTo>
                <a:lnTo>
                  <a:pt x="834986" y="229514"/>
                </a:lnTo>
                <a:lnTo>
                  <a:pt x="826477" y="228269"/>
                </a:lnTo>
                <a:lnTo>
                  <a:pt x="779475" y="241363"/>
                </a:lnTo>
                <a:lnTo>
                  <a:pt x="735088" y="258470"/>
                </a:lnTo>
                <a:lnTo>
                  <a:pt x="693369" y="279501"/>
                </a:lnTo>
                <a:lnTo>
                  <a:pt x="654405" y="304368"/>
                </a:lnTo>
                <a:lnTo>
                  <a:pt x="613752" y="338950"/>
                </a:lnTo>
                <a:lnTo>
                  <a:pt x="584720" y="375640"/>
                </a:lnTo>
                <a:lnTo>
                  <a:pt x="567296" y="414375"/>
                </a:lnTo>
                <a:lnTo>
                  <a:pt x="561479" y="455117"/>
                </a:lnTo>
                <a:lnTo>
                  <a:pt x="562330" y="467969"/>
                </a:lnTo>
                <a:lnTo>
                  <a:pt x="583692" y="502450"/>
                </a:lnTo>
                <a:lnTo>
                  <a:pt x="614387" y="508863"/>
                </a:lnTo>
                <a:lnTo>
                  <a:pt x="631837" y="507504"/>
                </a:lnTo>
                <a:lnTo>
                  <a:pt x="675119" y="496417"/>
                </a:lnTo>
                <a:lnTo>
                  <a:pt x="717562" y="479374"/>
                </a:lnTo>
                <a:lnTo>
                  <a:pt x="769734" y="455117"/>
                </a:lnTo>
                <a:lnTo>
                  <a:pt x="777087" y="468947"/>
                </a:lnTo>
                <a:lnTo>
                  <a:pt x="805510" y="508863"/>
                </a:lnTo>
                <a:lnTo>
                  <a:pt x="844130" y="540092"/>
                </a:lnTo>
                <a:lnTo>
                  <a:pt x="855586" y="542150"/>
                </a:lnTo>
                <a:lnTo>
                  <a:pt x="861745" y="542150"/>
                </a:lnTo>
                <a:lnTo>
                  <a:pt x="886218" y="518363"/>
                </a:lnTo>
                <a:lnTo>
                  <a:pt x="889889" y="510768"/>
                </a:lnTo>
                <a:close/>
              </a:path>
              <a:path w="1546225" h="612139">
                <a:moveTo>
                  <a:pt x="1274064" y="199732"/>
                </a:moveTo>
                <a:lnTo>
                  <a:pt x="1272159" y="191643"/>
                </a:lnTo>
                <a:lnTo>
                  <a:pt x="1268336" y="184048"/>
                </a:lnTo>
                <a:lnTo>
                  <a:pt x="1260208" y="188036"/>
                </a:lnTo>
                <a:lnTo>
                  <a:pt x="1251521" y="193548"/>
                </a:lnTo>
                <a:lnTo>
                  <a:pt x="1242314" y="200494"/>
                </a:lnTo>
                <a:lnTo>
                  <a:pt x="1232573" y="208775"/>
                </a:lnTo>
                <a:lnTo>
                  <a:pt x="1213358" y="225526"/>
                </a:lnTo>
                <a:lnTo>
                  <a:pt x="1197203" y="238620"/>
                </a:lnTo>
                <a:lnTo>
                  <a:pt x="1184071" y="247967"/>
                </a:lnTo>
                <a:lnTo>
                  <a:pt x="1173988" y="253479"/>
                </a:lnTo>
                <a:lnTo>
                  <a:pt x="1163764" y="257759"/>
                </a:lnTo>
                <a:lnTo>
                  <a:pt x="1150950" y="263461"/>
                </a:lnTo>
                <a:lnTo>
                  <a:pt x="1135468" y="270598"/>
                </a:lnTo>
                <a:lnTo>
                  <a:pt x="1117244" y="279158"/>
                </a:lnTo>
                <a:lnTo>
                  <a:pt x="1088466" y="292455"/>
                </a:lnTo>
                <a:lnTo>
                  <a:pt x="1062964" y="303110"/>
                </a:lnTo>
                <a:lnTo>
                  <a:pt x="1040777" y="311188"/>
                </a:lnTo>
                <a:lnTo>
                  <a:pt x="1021930" y="316725"/>
                </a:lnTo>
                <a:lnTo>
                  <a:pt x="1026579" y="296024"/>
                </a:lnTo>
                <a:lnTo>
                  <a:pt x="1042492" y="252120"/>
                </a:lnTo>
                <a:lnTo>
                  <a:pt x="1062621" y="213614"/>
                </a:lnTo>
                <a:lnTo>
                  <a:pt x="1088212" y="172097"/>
                </a:lnTo>
                <a:lnTo>
                  <a:pt x="1105293" y="145999"/>
                </a:lnTo>
                <a:lnTo>
                  <a:pt x="1121206" y="121107"/>
                </a:lnTo>
                <a:lnTo>
                  <a:pt x="1134668" y="99212"/>
                </a:lnTo>
                <a:lnTo>
                  <a:pt x="1145717" y="80264"/>
                </a:lnTo>
                <a:lnTo>
                  <a:pt x="1154417" y="64198"/>
                </a:lnTo>
                <a:lnTo>
                  <a:pt x="1167307" y="43281"/>
                </a:lnTo>
                <a:lnTo>
                  <a:pt x="1171562" y="35674"/>
                </a:lnTo>
                <a:lnTo>
                  <a:pt x="1173988" y="29019"/>
                </a:lnTo>
                <a:lnTo>
                  <a:pt x="1173988" y="17614"/>
                </a:lnTo>
                <a:lnTo>
                  <a:pt x="1171562" y="11849"/>
                </a:lnTo>
                <a:lnTo>
                  <a:pt x="1161592" y="1905"/>
                </a:lnTo>
                <a:lnTo>
                  <a:pt x="1156830" y="0"/>
                </a:lnTo>
                <a:lnTo>
                  <a:pt x="1147229" y="0"/>
                </a:lnTo>
                <a:lnTo>
                  <a:pt x="1143419" y="1397"/>
                </a:lnTo>
                <a:lnTo>
                  <a:pt x="1140117" y="5702"/>
                </a:lnTo>
                <a:lnTo>
                  <a:pt x="1136307" y="9499"/>
                </a:lnTo>
                <a:lnTo>
                  <a:pt x="1132484" y="16662"/>
                </a:lnTo>
                <a:lnTo>
                  <a:pt x="1129118" y="26174"/>
                </a:lnTo>
                <a:lnTo>
                  <a:pt x="1125804" y="34366"/>
                </a:lnTo>
                <a:lnTo>
                  <a:pt x="1121511" y="44107"/>
                </a:lnTo>
                <a:lnTo>
                  <a:pt x="1116152" y="55448"/>
                </a:lnTo>
                <a:lnTo>
                  <a:pt x="1109611" y="68503"/>
                </a:lnTo>
                <a:lnTo>
                  <a:pt x="1103350" y="81407"/>
                </a:lnTo>
                <a:lnTo>
                  <a:pt x="1098232" y="92367"/>
                </a:lnTo>
                <a:lnTo>
                  <a:pt x="1094270" y="101371"/>
                </a:lnTo>
                <a:lnTo>
                  <a:pt x="1091501" y="108419"/>
                </a:lnTo>
                <a:lnTo>
                  <a:pt x="1028090" y="222084"/>
                </a:lnTo>
                <a:lnTo>
                  <a:pt x="1006805" y="267970"/>
                </a:lnTo>
                <a:lnTo>
                  <a:pt x="981405" y="305968"/>
                </a:lnTo>
                <a:lnTo>
                  <a:pt x="958519" y="329095"/>
                </a:lnTo>
                <a:lnTo>
                  <a:pt x="953947" y="334797"/>
                </a:lnTo>
                <a:lnTo>
                  <a:pt x="949553" y="342582"/>
                </a:lnTo>
                <a:lnTo>
                  <a:pt x="945362" y="352437"/>
                </a:lnTo>
                <a:lnTo>
                  <a:pt x="941362" y="364286"/>
                </a:lnTo>
                <a:lnTo>
                  <a:pt x="935697" y="384378"/>
                </a:lnTo>
                <a:lnTo>
                  <a:pt x="933221" y="392341"/>
                </a:lnTo>
                <a:lnTo>
                  <a:pt x="930821" y="398145"/>
                </a:lnTo>
                <a:lnTo>
                  <a:pt x="925690" y="407746"/>
                </a:lnTo>
                <a:lnTo>
                  <a:pt x="917778" y="421170"/>
                </a:lnTo>
                <a:lnTo>
                  <a:pt x="907046" y="438480"/>
                </a:lnTo>
                <a:lnTo>
                  <a:pt x="898652" y="453275"/>
                </a:lnTo>
                <a:lnTo>
                  <a:pt x="892860" y="466242"/>
                </a:lnTo>
                <a:lnTo>
                  <a:pt x="889736" y="477329"/>
                </a:lnTo>
                <a:lnTo>
                  <a:pt x="889381" y="486511"/>
                </a:lnTo>
                <a:lnTo>
                  <a:pt x="889381" y="499351"/>
                </a:lnTo>
                <a:lnTo>
                  <a:pt x="929411" y="494576"/>
                </a:lnTo>
                <a:lnTo>
                  <a:pt x="946124" y="480326"/>
                </a:lnTo>
                <a:lnTo>
                  <a:pt x="946124" y="467969"/>
                </a:lnTo>
                <a:lnTo>
                  <a:pt x="952284" y="436105"/>
                </a:lnTo>
                <a:lnTo>
                  <a:pt x="953236" y="431812"/>
                </a:lnTo>
                <a:lnTo>
                  <a:pt x="955154" y="426593"/>
                </a:lnTo>
                <a:lnTo>
                  <a:pt x="960869" y="415175"/>
                </a:lnTo>
                <a:lnTo>
                  <a:pt x="963282" y="409943"/>
                </a:lnTo>
                <a:lnTo>
                  <a:pt x="965187" y="404710"/>
                </a:lnTo>
                <a:lnTo>
                  <a:pt x="973162" y="408444"/>
                </a:lnTo>
                <a:lnTo>
                  <a:pt x="979982" y="412496"/>
                </a:lnTo>
                <a:lnTo>
                  <a:pt x="1002868" y="448945"/>
                </a:lnTo>
                <a:lnTo>
                  <a:pt x="1015669" y="479856"/>
                </a:lnTo>
                <a:lnTo>
                  <a:pt x="1028090" y="510768"/>
                </a:lnTo>
                <a:lnTo>
                  <a:pt x="1058151" y="572592"/>
                </a:lnTo>
                <a:lnTo>
                  <a:pt x="1062799" y="583031"/>
                </a:lnTo>
                <a:lnTo>
                  <a:pt x="1066723" y="592975"/>
                </a:lnTo>
                <a:lnTo>
                  <a:pt x="1069936" y="602488"/>
                </a:lnTo>
                <a:lnTo>
                  <a:pt x="1072438" y="611593"/>
                </a:lnTo>
                <a:lnTo>
                  <a:pt x="1081366" y="607504"/>
                </a:lnTo>
                <a:lnTo>
                  <a:pt x="1107706" y="579716"/>
                </a:lnTo>
                <a:lnTo>
                  <a:pt x="1107706" y="571157"/>
                </a:lnTo>
                <a:lnTo>
                  <a:pt x="1083576" y="509587"/>
                </a:lnTo>
                <a:lnTo>
                  <a:pt x="1066215" y="474141"/>
                </a:lnTo>
                <a:lnTo>
                  <a:pt x="1059789" y="456946"/>
                </a:lnTo>
                <a:lnTo>
                  <a:pt x="1047127" y="422186"/>
                </a:lnTo>
                <a:lnTo>
                  <a:pt x="1040993" y="404710"/>
                </a:lnTo>
                <a:lnTo>
                  <a:pt x="1039533" y="399478"/>
                </a:lnTo>
                <a:lnTo>
                  <a:pt x="1037628" y="393293"/>
                </a:lnTo>
                <a:lnTo>
                  <a:pt x="1033818" y="379984"/>
                </a:lnTo>
                <a:lnTo>
                  <a:pt x="1032852" y="374751"/>
                </a:lnTo>
                <a:lnTo>
                  <a:pt x="1032852" y="364286"/>
                </a:lnTo>
                <a:lnTo>
                  <a:pt x="1066215" y="341934"/>
                </a:lnTo>
                <a:lnTo>
                  <a:pt x="1109141" y="326326"/>
                </a:lnTo>
                <a:lnTo>
                  <a:pt x="1144231" y="312978"/>
                </a:lnTo>
                <a:lnTo>
                  <a:pt x="1191133" y="292950"/>
                </a:lnTo>
                <a:lnTo>
                  <a:pt x="1227416" y="272161"/>
                </a:lnTo>
                <a:lnTo>
                  <a:pt x="1268882" y="229679"/>
                </a:lnTo>
                <a:lnTo>
                  <a:pt x="1274064" y="207822"/>
                </a:lnTo>
                <a:lnTo>
                  <a:pt x="1274064" y="199732"/>
                </a:lnTo>
                <a:close/>
              </a:path>
              <a:path w="1546225" h="612139">
                <a:moveTo>
                  <a:pt x="1545755" y="461302"/>
                </a:moveTo>
                <a:lnTo>
                  <a:pt x="1504759" y="462711"/>
                </a:lnTo>
                <a:lnTo>
                  <a:pt x="1457261" y="465582"/>
                </a:lnTo>
                <a:lnTo>
                  <a:pt x="1417878" y="469265"/>
                </a:lnTo>
                <a:lnTo>
                  <a:pt x="1384909" y="473011"/>
                </a:lnTo>
                <a:lnTo>
                  <a:pt x="1374444" y="473900"/>
                </a:lnTo>
                <a:lnTo>
                  <a:pt x="1364780" y="474433"/>
                </a:lnTo>
                <a:lnTo>
                  <a:pt x="1356029" y="474611"/>
                </a:lnTo>
                <a:lnTo>
                  <a:pt x="1342351" y="474179"/>
                </a:lnTo>
                <a:lnTo>
                  <a:pt x="1291755" y="461619"/>
                </a:lnTo>
                <a:lnTo>
                  <a:pt x="1274064" y="430390"/>
                </a:lnTo>
                <a:lnTo>
                  <a:pt x="1275219" y="421665"/>
                </a:lnTo>
                <a:lnTo>
                  <a:pt x="1300238" y="392823"/>
                </a:lnTo>
                <a:lnTo>
                  <a:pt x="1305001" y="389966"/>
                </a:lnTo>
                <a:lnTo>
                  <a:pt x="1307858" y="389966"/>
                </a:lnTo>
                <a:lnTo>
                  <a:pt x="1309763" y="390918"/>
                </a:lnTo>
                <a:lnTo>
                  <a:pt x="1313141" y="393293"/>
                </a:lnTo>
                <a:lnTo>
                  <a:pt x="1315999" y="395668"/>
                </a:lnTo>
                <a:lnTo>
                  <a:pt x="1319809" y="397573"/>
                </a:lnTo>
                <a:lnTo>
                  <a:pt x="1324571" y="398526"/>
                </a:lnTo>
                <a:lnTo>
                  <a:pt x="1333500" y="400659"/>
                </a:lnTo>
                <a:lnTo>
                  <a:pt x="1342491" y="402691"/>
                </a:lnTo>
                <a:lnTo>
                  <a:pt x="1387678" y="408813"/>
                </a:lnTo>
                <a:lnTo>
                  <a:pt x="1396060" y="408990"/>
                </a:lnTo>
                <a:lnTo>
                  <a:pt x="1410474" y="408457"/>
                </a:lnTo>
                <a:lnTo>
                  <a:pt x="1451343" y="400431"/>
                </a:lnTo>
                <a:lnTo>
                  <a:pt x="1489163" y="382041"/>
                </a:lnTo>
                <a:lnTo>
                  <a:pt x="1517929" y="346506"/>
                </a:lnTo>
                <a:lnTo>
                  <a:pt x="1519008" y="335280"/>
                </a:lnTo>
                <a:lnTo>
                  <a:pt x="1518627" y="329095"/>
                </a:lnTo>
                <a:lnTo>
                  <a:pt x="1518513" y="327660"/>
                </a:lnTo>
                <a:lnTo>
                  <a:pt x="1517116" y="320649"/>
                </a:lnTo>
                <a:lnTo>
                  <a:pt x="1515046" y="314820"/>
                </a:lnTo>
                <a:lnTo>
                  <a:pt x="1514614" y="313601"/>
                </a:lnTo>
                <a:lnTo>
                  <a:pt x="1488503" y="284861"/>
                </a:lnTo>
                <a:lnTo>
                  <a:pt x="1476121" y="281571"/>
                </a:lnTo>
                <a:lnTo>
                  <a:pt x="1476121" y="335280"/>
                </a:lnTo>
                <a:lnTo>
                  <a:pt x="1461820" y="351853"/>
                </a:lnTo>
                <a:lnTo>
                  <a:pt x="1446034" y="363753"/>
                </a:lnTo>
                <a:lnTo>
                  <a:pt x="1428750" y="370916"/>
                </a:lnTo>
                <a:lnTo>
                  <a:pt x="1409903" y="373316"/>
                </a:lnTo>
                <a:lnTo>
                  <a:pt x="1393901" y="371360"/>
                </a:lnTo>
                <a:lnTo>
                  <a:pt x="1379562" y="365480"/>
                </a:lnTo>
                <a:lnTo>
                  <a:pt x="1366926" y="355663"/>
                </a:lnTo>
                <a:lnTo>
                  <a:pt x="1356029" y="341934"/>
                </a:lnTo>
                <a:lnTo>
                  <a:pt x="1368894" y="334860"/>
                </a:lnTo>
                <a:lnTo>
                  <a:pt x="1406131" y="318096"/>
                </a:lnTo>
                <a:lnTo>
                  <a:pt x="1428013" y="314820"/>
                </a:lnTo>
                <a:lnTo>
                  <a:pt x="1433233" y="314820"/>
                </a:lnTo>
                <a:lnTo>
                  <a:pt x="1457566" y="321957"/>
                </a:lnTo>
                <a:lnTo>
                  <a:pt x="1464678" y="325285"/>
                </a:lnTo>
                <a:lnTo>
                  <a:pt x="1468488" y="327660"/>
                </a:lnTo>
                <a:lnTo>
                  <a:pt x="1469948" y="329095"/>
                </a:lnTo>
                <a:lnTo>
                  <a:pt x="1476121" y="335280"/>
                </a:lnTo>
                <a:lnTo>
                  <a:pt x="1476121" y="281571"/>
                </a:lnTo>
                <a:lnTo>
                  <a:pt x="1475968" y="281533"/>
                </a:lnTo>
                <a:lnTo>
                  <a:pt x="1463941" y="279387"/>
                </a:lnTo>
                <a:lnTo>
                  <a:pt x="1448028" y="276783"/>
                </a:lnTo>
                <a:lnTo>
                  <a:pt x="1438503" y="275348"/>
                </a:lnTo>
                <a:lnTo>
                  <a:pt x="1433233" y="273926"/>
                </a:lnTo>
                <a:lnTo>
                  <a:pt x="1382788" y="287718"/>
                </a:lnTo>
                <a:lnTo>
                  <a:pt x="1346936" y="301510"/>
                </a:lnTo>
                <a:lnTo>
                  <a:pt x="1305852" y="325412"/>
                </a:lnTo>
                <a:lnTo>
                  <a:pt x="1274064" y="354304"/>
                </a:lnTo>
                <a:lnTo>
                  <a:pt x="1249591" y="384124"/>
                </a:lnTo>
                <a:lnTo>
                  <a:pt x="1230655" y="421360"/>
                </a:lnTo>
                <a:lnTo>
                  <a:pt x="1229258" y="434670"/>
                </a:lnTo>
                <a:lnTo>
                  <a:pt x="1229258" y="438480"/>
                </a:lnTo>
                <a:lnTo>
                  <a:pt x="1250175" y="481685"/>
                </a:lnTo>
                <a:lnTo>
                  <a:pt x="1299375" y="499351"/>
                </a:lnTo>
                <a:lnTo>
                  <a:pt x="1342682" y="502208"/>
                </a:lnTo>
                <a:lnTo>
                  <a:pt x="1349349" y="502208"/>
                </a:lnTo>
                <a:lnTo>
                  <a:pt x="1381937" y="500481"/>
                </a:lnTo>
                <a:lnTo>
                  <a:pt x="1388249" y="499986"/>
                </a:lnTo>
                <a:lnTo>
                  <a:pt x="1394155" y="499351"/>
                </a:lnTo>
                <a:lnTo>
                  <a:pt x="1455661" y="493636"/>
                </a:lnTo>
                <a:lnTo>
                  <a:pt x="1486738" y="488657"/>
                </a:lnTo>
                <a:lnTo>
                  <a:pt x="1512125" y="481571"/>
                </a:lnTo>
                <a:lnTo>
                  <a:pt x="1527111" y="474611"/>
                </a:lnTo>
                <a:lnTo>
                  <a:pt x="1531797" y="472440"/>
                </a:lnTo>
                <a:lnTo>
                  <a:pt x="1545755" y="461302"/>
                </a:lnTo>
                <a:close/>
              </a:path>
            </a:pathLst>
          </a:custGeom>
          <a:solidFill>
            <a:srgbClr val="D9383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5341645" y="2944964"/>
            <a:ext cx="1076325" cy="473709"/>
          </a:xfrm>
          <a:custGeom>
            <a:avLst/>
            <a:gdLst/>
            <a:ahLst/>
            <a:cxnLst/>
            <a:rect l="l" t="t" r="r" b="b"/>
            <a:pathLst>
              <a:path w="1076325" h="473710">
                <a:moveTo>
                  <a:pt x="264083" y="33769"/>
                </a:moveTo>
                <a:lnTo>
                  <a:pt x="239737" y="0"/>
                </a:lnTo>
                <a:lnTo>
                  <a:pt x="237388" y="1905"/>
                </a:lnTo>
                <a:lnTo>
                  <a:pt x="228803" y="7505"/>
                </a:lnTo>
                <a:lnTo>
                  <a:pt x="221602" y="14274"/>
                </a:lnTo>
                <a:lnTo>
                  <a:pt x="215734" y="22110"/>
                </a:lnTo>
                <a:lnTo>
                  <a:pt x="211150" y="30924"/>
                </a:lnTo>
                <a:lnTo>
                  <a:pt x="199263" y="71361"/>
                </a:lnTo>
                <a:lnTo>
                  <a:pt x="194894" y="83108"/>
                </a:lnTo>
                <a:lnTo>
                  <a:pt x="188950" y="97637"/>
                </a:lnTo>
                <a:lnTo>
                  <a:pt x="181495" y="114820"/>
                </a:lnTo>
                <a:lnTo>
                  <a:pt x="172580" y="134607"/>
                </a:lnTo>
                <a:lnTo>
                  <a:pt x="167741" y="144691"/>
                </a:lnTo>
                <a:lnTo>
                  <a:pt x="147421" y="188214"/>
                </a:lnTo>
                <a:lnTo>
                  <a:pt x="127914" y="224205"/>
                </a:lnTo>
                <a:lnTo>
                  <a:pt x="81927" y="297294"/>
                </a:lnTo>
                <a:lnTo>
                  <a:pt x="70535" y="314858"/>
                </a:lnTo>
                <a:lnTo>
                  <a:pt x="58572" y="334022"/>
                </a:lnTo>
                <a:lnTo>
                  <a:pt x="47612" y="352310"/>
                </a:lnTo>
                <a:lnTo>
                  <a:pt x="37630" y="369697"/>
                </a:lnTo>
                <a:lnTo>
                  <a:pt x="28600" y="386194"/>
                </a:lnTo>
                <a:lnTo>
                  <a:pt x="10998" y="416153"/>
                </a:lnTo>
                <a:lnTo>
                  <a:pt x="6248" y="424891"/>
                </a:lnTo>
                <a:lnTo>
                  <a:pt x="2806" y="432562"/>
                </a:lnTo>
                <a:lnTo>
                  <a:pt x="711" y="439153"/>
                </a:lnTo>
                <a:lnTo>
                  <a:pt x="0" y="444690"/>
                </a:lnTo>
                <a:lnTo>
                  <a:pt x="0" y="449910"/>
                </a:lnTo>
                <a:lnTo>
                  <a:pt x="2413" y="454202"/>
                </a:lnTo>
                <a:lnTo>
                  <a:pt x="10998" y="459905"/>
                </a:lnTo>
                <a:lnTo>
                  <a:pt x="18618" y="461340"/>
                </a:lnTo>
                <a:lnTo>
                  <a:pt x="28600" y="461340"/>
                </a:lnTo>
                <a:lnTo>
                  <a:pt x="58140" y="436130"/>
                </a:lnTo>
                <a:lnTo>
                  <a:pt x="72948" y="392379"/>
                </a:lnTo>
                <a:lnTo>
                  <a:pt x="79921" y="376948"/>
                </a:lnTo>
                <a:lnTo>
                  <a:pt x="87960" y="359918"/>
                </a:lnTo>
                <a:lnTo>
                  <a:pt x="97078" y="341274"/>
                </a:lnTo>
                <a:lnTo>
                  <a:pt x="107264" y="321030"/>
                </a:lnTo>
                <a:lnTo>
                  <a:pt x="154393" y="235242"/>
                </a:lnTo>
                <a:lnTo>
                  <a:pt x="163449" y="218186"/>
                </a:lnTo>
                <a:lnTo>
                  <a:pt x="172072" y="201320"/>
                </a:lnTo>
                <a:lnTo>
                  <a:pt x="180200" y="184543"/>
                </a:lnTo>
                <a:lnTo>
                  <a:pt x="185293" y="175183"/>
                </a:lnTo>
                <a:lnTo>
                  <a:pt x="192811" y="162788"/>
                </a:lnTo>
                <a:lnTo>
                  <a:pt x="202844" y="147358"/>
                </a:lnTo>
                <a:lnTo>
                  <a:pt x="226796" y="112153"/>
                </a:lnTo>
                <a:lnTo>
                  <a:pt x="236372" y="96913"/>
                </a:lnTo>
                <a:lnTo>
                  <a:pt x="244068" y="83286"/>
                </a:lnTo>
                <a:lnTo>
                  <a:pt x="249783" y="71361"/>
                </a:lnTo>
                <a:lnTo>
                  <a:pt x="253085" y="65646"/>
                </a:lnTo>
                <a:lnTo>
                  <a:pt x="255943" y="59944"/>
                </a:lnTo>
                <a:lnTo>
                  <a:pt x="259308" y="53759"/>
                </a:lnTo>
                <a:lnTo>
                  <a:pt x="262623" y="48031"/>
                </a:lnTo>
                <a:lnTo>
                  <a:pt x="264083" y="42329"/>
                </a:lnTo>
                <a:lnTo>
                  <a:pt x="264083" y="33769"/>
                </a:lnTo>
                <a:close/>
              </a:path>
              <a:path w="1076325" h="473710">
                <a:moveTo>
                  <a:pt x="332701" y="264909"/>
                </a:moveTo>
                <a:lnTo>
                  <a:pt x="329844" y="258737"/>
                </a:lnTo>
                <a:lnTo>
                  <a:pt x="312242" y="241134"/>
                </a:lnTo>
                <a:lnTo>
                  <a:pt x="301688" y="250863"/>
                </a:lnTo>
                <a:lnTo>
                  <a:pt x="276974" y="290118"/>
                </a:lnTo>
                <a:lnTo>
                  <a:pt x="255498" y="348615"/>
                </a:lnTo>
                <a:lnTo>
                  <a:pt x="253339" y="353529"/>
                </a:lnTo>
                <a:lnTo>
                  <a:pt x="250482" y="358965"/>
                </a:lnTo>
                <a:lnTo>
                  <a:pt x="246900" y="364934"/>
                </a:lnTo>
                <a:lnTo>
                  <a:pt x="242608" y="371449"/>
                </a:lnTo>
                <a:lnTo>
                  <a:pt x="238048" y="377964"/>
                </a:lnTo>
                <a:lnTo>
                  <a:pt x="234391" y="383984"/>
                </a:lnTo>
                <a:lnTo>
                  <a:pt x="226910" y="410438"/>
                </a:lnTo>
                <a:lnTo>
                  <a:pt x="227901" y="415912"/>
                </a:lnTo>
                <a:lnTo>
                  <a:pt x="229260" y="424713"/>
                </a:lnTo>
                <a:lnTo>
                  <a:pt x="229260" y="425665"/>
                </a:lnTo>
                <a:lnTo>
                  <a:pt x="229768" y="429463"/>
                </a:lnTo>
                <a:lnTo>
                  <a:pt x="230212" y="436600"/>
                </a:lnTo>
                <a:lnTo>
                  <a:pt x="269798" y="428040"/>
                </a:lnTo>
                <a:lnTo>
                  <a:pt x="286956" y="392379"/>
                </a:lnTo>
                <a:lnTo>
                  <a:pt x="288836" y="388010"/>
                </a:lnTo>
                <a:lnTo>
                  <a:pt x="295478" y="372313"/>
                </a:lnTo>
                <a:lnTo>
                  <a:pt x="300291" y="360984"/>
                </a:lnTo>
                <a:lnTo>
                  <a:pt x="304304" y="352069"/>
                </a:lnTo>
                <a:lnTo>
                  <a:pt x="307695" y="343865"/>
                </a:lnTo>
                <a:lnTo>
                  <a:pt x="310375" y="336372"/>
                </a:lnTo>
                <a:lnTo>
                  <a:pt x="312242" y="329590"/>
                </a:lnTo>
                <a:lnTo>
                  <a:pt x="318884" y="314972"/>
                </a:lnTo>
                <a:lnTo>
                  <a:pt x="332257" y="278295"/>
                </a:lnTo>
                <a:lnTo>
                  <a:pt x="332701" y="272046"/>
                </a:lnTo>
                <a:lnTo>
                  <a:pt x="332701" y="264909"/>
                </a:lnTo>
                <a:close/>
              </a:path>
              <a:path w="1076325" h="473710">
                <a:moveTo>
                  <a:pt x="395605" y="87998"/>
                </a:moveTo>
                <a:lnTo>
                  <a:pt x="394652" y="85153"/>
                </a:lnTo>
                <a:lnTo>
                  <a:pt x="394208" y="82296"/>
                </a:lnTo>
                <a:lnTo>
                  <a:pt x="390398" y="78016"/>
                </a:lnTo>
                <a:lnTo>
                  <a:pt x="383730" y="72783"/>
                </a:lnTo>
                <a:lnTo>
                  <a:pt x="375589" y="64693"/>
                </a:lnTo>
                <a:lnTo>
                  <a:pt x="363207" y="39471"/>
                </a:lnTo>
                <a:lnTo>
                  <a:pt x="361289" y="36626"/>
                </a:lnTo>
                <a:lnTo>
                  <a:pt x="357987" y="32829"/>
                </a:lnTo>
                <a:lnTo>
                  <a:pt x="352272" y="28067"/>
                </a:lnTo>
                <a:lnTo>
                  <a:pt x="351320" y="27622"/>
                </a:lnTo>
                <a:lnTo>
                  <a:pt x="350812" y="27114"/>
                </a:lnTo>
                <a:lnTo>
                  <a:pt x="350367" y="27114"/>
                </a:lnTo>
                <a:lnTo>
                  <a:pt x="349465" y="30975"/>
                </a:lnTo>
                <a:lnTo>
                  <a:pt x="347560" y="37490"/>
                </a:lnTo>
                <a:lnTo>
                  <a:pt x="344665" y="46659"/>
                </a:lnTo>
                <a:lnTo>
                  <a:pt x="340829" y="58508"/>
                </a:lnTo>
                <a:lnTo>
                  <a:pt x="337705" y="68313"/>
                </a:lnTo>
                <a:lnTo>
                  <a:pt x="335457" y="77000"/>
                </a:lnTo>
                <a:lnTo>
                  <a:pt x="334111" y="84531"/>
                </a:lnTo>
                <a:lnTo>
                  <a:pt x="333654" y="90855"/>
                </a:lnTo>
                <a:lnTo>
                  <a:pt x="333654" y="98463"/>
                </a:lnTo>
                <a:lnTo>
                  <a:pt x="336067" y="104165"/>
                </a:lnTo>
                <a:lnTo>
                  <a:pt x="340829" y="108445"/>
                </a:lnTo>
                <a:lnTo>
                  <a:pt x="345097" y="112737"/>
                </a:lnTo>
                <a:lnTo>
                  <a:pt x="352717" y="115112"/>
                </a:lnTo>
                <a:lnTo>
                  <a:pt x="371779" y="115112"/>
                </a:lnTo>
                <a:lnTo>
                  <a:pt x="379399" y="113207"/>
                </a:lnTo>
                <a:lnTo>
                  <a:pt x="386080" y="108927"/>
                </a:lnTo>
                <a:lnTo>
                  <a:pt x="392303" y="104648"/>
                </a:lnTo>
                <a:lnTo>
                  <a:pt x="395605" y="98933"/>
                </a:lnTo>
                <a:lnTo>
                  <a:pt x="395605" y="87998"/>
                </a:lnTo>
                <a:close/>
              </a:path>
              <a:path w="1076325" h="473710">
                <a:moveTo>
                  <a:pt x="884174" y="72783"/>
                </a:moveTo>
                <a:lnTo>
                  <a:pt x="867422" y="38201"/>
                </a:lnTo>
                <a:lnTo>
                  <a:pt x="824471" y="16548"/>
                </a:lnTo>
                <a:lnTo>
                  <a:pt x="796925" y="13817"/>
                </a:lnTo>
                <a:lnTo>
                  <a:pt x="780427" y="14693"/>
                </a:lnTo>
                <a:lnTo>
                  <a:pt x="734529" y="27622"/>
                </a:lnTo>
                <a:lnTo>
                  <a:pt x="691426" y="55956"/>
                </a:lnTo>
                <a:lnTo>
                  <a:pt x="652919" y="94957"/>
                </a:lnTo>
                <a:lnTo>
                  <a:pt x="628675" y="125577"/>
                </a:lnTo>
                <a:lnTo>
                  <a:pt x="602018" y="165290"/>
                </a:lnTo>
                <a:lnTo>
                  <a:pt x="583806" y="195516"/>
                </a:lnTo>
                <a:lnTo>
                  <a:pt x="566280" y="227825"/>
                </a:lnTo>
                <a:lnTo>
                  <a:pt x="532917" y="260159"/>
                </a:lnTo>
                <a:lnTo>
                  <a:pt x="469061" y="266344"/>
                </a:lnTo>
                <a:lnTo>
                  <a:pt x="460375" y="266522"/>
                </a:lnTo>
                <a:lnTo>
                  <a:pt x="418325" y="275818"/>
                </a:lnTo>
                <a:lnTo>
                  <a:pt x="399923" y="297738"/>
                </a:lnTo>
                <a:lnTo>
                  <a:pt x="399923" y="308190"/>
                </a:lnTo>
                <a:lnTo>
                  <a:pt x="402285" y="313423"/>
                </a:lnTo>
                <a:lnTo>
                  <a:pt x="413715" y="321030"/>
                </a:lnTo>
                <a:lnTo>
                  <a:pt x="421347" y="323405"/>
                </a:lnTo>
                <a:lnTo>
                  <a:pt x="442823" y="323405"/>
                </a:lnTo>
                <a:lnTo>
                  <a:pt x="450443" y="320560"/>
                </a:lnTo>
                <a:lnTo>
                  <a:pt x="471601" y="310007"/>
                </a:lnTo>
                <a:lnTo>
                  <a:pt x="481368" y="306171"/>
                </a:lnTo>
                <a:lnTo>
                  <a:pt x="489267" y="304304"/>
                </a:lnTo>
                <a:lnTo>
                  <a:pt x="507631" y="304393"/>
                </a:lnTo>
                <a:lnTo>
                  <a:pt x="513854" y="310578"/>
                </a:lnTo>
                <a:lnTo>
                  <a:pt x="505993" y="323329"/>
                </a:lnTo>
                <a:lnTo>
                  <a:pt x="482409" y="360984"/>
                </a:lnTo>
                <a:lnTo>
                  <a:pt x="465696" y="384759"/>
                </a:lnTo>
                <a:lnTo>
                  <a:pt x="461886" y="389991"/>
                </a:lnTo>
                <a:lnTo>
                  <a:pt x="459460" y="394271"/>
                </a:lnTo>
                <a:lnTo>
                  <a:pt x="458063" y="397129"/>
                </a:lnTo>
                <a:lnTo>
                  <a:pt x="456603" y="400456"/>
                </a:lnTo>
                <a:lnTo>
                  <a:pt x="453301" y="406171"/>
                </a:lnTo>
                <a:lnTo>
                  <a:pt x="433730" y="444690"/>
                </a:lnTo>
                <a:lnTo>
                  <a:pt x="431825" y="464667"/>
                </a:lnTo>
                <a:lnTo>
                  <a:pt x="431825" y="473227"/>
                </a:lnTo>
                <a:lnTo>
                  <a:pt x="474230" y="458508"/>
                </a:lnTo>
                <a:lnTo>
                  <a:pt x="502996" y="432803"/>
                </a:lnTo>
                <a:lnTo>
                  <a:pt x="537870" y="366687"/>
                </a:lnTo>
                <a:lnTo>
                  <a:pt x="550913" y="338696"/>
                </a:lnTo>
                <a:lnTo>
                  <a:pt x="576249" y="296786"/>
                </a:lnTo>
                <a:lnTo>
                  <a:pt x="601992" y="284416"/>
                </a:lnTo>
                <a:lnTo>
                  <a:pt x="610565" y="284416"/>
                </a:lnTo>
                <a:lnTo>
                  <a:pt x="650595" y="291071"/>
                </a:lnTo>
                <a:lnTo>
                  <a:pt x="663575" y="294195"/>
                </a:lnTo>
                <a:lnTo>
                  <a:pt x="674573" y="296430"/>
                </a:lnTo>
                <a:lnTo>
                  <a:pt x="683615" y="297764"/>
                </a:lnTo>
                <a:lnTo>
                  <a:pt x="690689" y="298208"/>
                </a:lnTo>
                <a:lnTo>
                  <a:pt x="689076" y="285267"/>
                </a:lnTo>
                <a:lnTo>
                  <a:pt x="684199" y="274256"/>
                </a:lnTo>
                <a:lnTo>
                  <a:pt x="675995" y="265099"/>
                </a:lnTo>
                <a:lnTo>
                  <a:pt x="664451" y="257784"/>
                </a:lnTo>
                <a:lnTo>
                  <a:pt x="608660" y="241134"/>
                </a:lnTo>
                <a:lnTo>
                  <a:pt x="621614" y="215087"/>
                </a:lnTo>
                <a:lnTo>
                  <a:pt x="661085" y="136512"/>
                </a:lnTo>
                <a:lnTo>
                  <a:pt x="699668" y="86626"/>
                </a:lnTo>
                <a:lnTo>
                  <a:pt x="747877" y="58508"/>
                </a:lnTo>
                <a:lnTo>
                  <a:pt x="787908" y="49491"/>
                </a:lnTo>
                <a:lnTo>
                  <a:pt x="803605" y="49491"/>
                </a:lnTo>
                <a:lnTo>
                  <a:pt x="810780" y="50444"/>
                </a:lnTo>
                <a:lnTo>
                  <a:pt x="817892" y="53289"/>
                </a:lnTo>
                <a:lnTo>
                  <a:pt x="824572" y="55664"/>
                </a:lnTo>
                <a:lnTo>
                  <a:pt x="849350" y="86093"/>
                </a:lnTo>
                <a:lnTo>
                  <a:pt x="850303" y="91808"/>
                </a:lnTo>
                <a:lnTo>
                  <a:pt x="850303" y="97980"/>
                </a:lnTo>
                <a:lnTo>
                  <a:pt x="849934" y="103886"/>
                </a:lnTo>
                <a:lnTo>
                  <a:pt x="848753" y="110947"/>
                </a:lnTo>
                <a:lnTo>
                  <a:pt x="846683" y="119253"/>
                </a:lnTo>
                <a:lnTo>
                  <a:pt x="843635" y="128892"/>
                </a:lnTo>
                <a:lnTo>
                  <a:pt x="840778" y="138607"/>
                </a:lnTo>
                <a:lnTo>
                  <a:pt x="838581" y="146977"/>
                </a:lnTo>
                <a:lnTo>
                  <a:pt x="837006" y="153911"/>
                </a:lnTo>
                <a:lnTo>
                  <a:pt x="836002" y="159346"/>
                </a:lnTo>
                <a:lnTo>
                  <a:pt x="845337" y="153543"/>
                </a:lnTo>
                <a:lnTo>
                  <a:pt x="876134" y="115379"/>
                </a:lnTo>
                <a:lnTo>
                  <a:pt x="884174" y="80873"/>
                </a:lnTo>
                <a:lnTo>
                  <a:pt x="884174" y="72783"/>
                </a:lnTo>
                <a:close/>
              </a:path>
              <a:path w="1076325" h="473710">
                <a:moveTo>
                  <a:pt x="1075804" y="417576"/>
                </a:moveTo>
                <a:lnTo>
                  <a:pt x="1034605" y="418985"/>
                </a:lnTo>
                <a:lnTo>
                  <a:pt x="987247" y="421855"/>
                </a:lnTo>
                <a:lnTo>
                  <a:pt x="947940" y="425538"/>
                </a:lnTo>
                <a:lnTo>
                  <a:pt x="914781" y="429285"/>
                </a:lnTo>
                <a:lnTo>
                  <a:pt x="904328" y="430174"/>
                </a:lnTo>
                <a:lnTo>
                  <a:pt x="894765" y="430707"/>
                </a:lnTo>
                <a:lnTo>
                  <a:pt x="886079" y="430885"/>
                </a:lnTo>
                <a:lnTo>
                  <a:pt x="872426" y="430453"/>
                </a:lnTo>
                <a:lnTo>
                  <a:pt x="821804" y="417893"/>
                </a:lnTo>
                <a:lnTo>
                  <a:pt x="804113" y="386664"/>
                </a:lnTo>
                <a:lnTo>
                  <a:pt x="805268" y="377939"/>
                </a:lnTo>
                <a:lnTo>
                  <a:pt x="830287" y="349097"/>
                </a:lnTo>
                <a:lnTo>
                  <a:pt x="835050" y="346240"/>
                </a:lnTo>
                <a:lnTo>
                  <a:pt x="837907" y="346240"/>
                </a:lnTo>
                <a:lnTo>
                  <a:pt x="839825" y="347192"/>
                </a:lnTo>
                <a:lnTo>
                  <a:pt x="843191" y="349567"/>
                </a:lnTo>
                <a:lnTo>
                  <a:pt x="846048" y="351942"/>
                </a:lnTo>
                <a:lnTo>
                  <a:pt x="849858" y="353847"/>
                </a:lnTo>
                <a:lnTo>
                  <a:pt x="854621" y="354799"/>
                </a:lnTo>
                <a:lnTo>
                  <a:pt x="863587" y="356933"/>
                </a:lnTo>
                <a:lnTo>
                  <a:pt x="872566" y="358965"/>
                </a:lnTo>
                <a:lnTo>
                  <a:pt x="917727" y="365086"/>
                </a:lnTo>
                <a:lnTo>
                  <a:pt x="926109" y="365264"/>
                </a:lnTo>
                <a:lnTo>
                  <a:pt x="940308" y="364731"/>
                </a:lnTo>
                <a:lnTo>
                  <a:pt x="980948" y="356704"/>
                </a:lnTo>
                <a:lnTo>
                  <a:pt x="1019200" y="338315"/>
                </a:lnTo>
                <a:lnTo>
                  <a:pt x="1048029" y="302780"/>
                </a:lnTo>
                <a:lnTo>
                  <a:pt x="1049121" y="291553"/>
                </a:lnTo>
                <a:lnTo>
                  <a:pt x="1048727" y="285369"/>
                </a:lnTo>
                <a:lnTo>
                  <a:pt x="1048613" y="283933"/>
                </a:lnTo>
                <a:lnTo>
                  <a:pt x="1047203" y="276923"/>
                </a:lnTo>
                <a:lnTo>
                  <a:pt x="1045108" y="271094"/>
                </a:lnTo>
                <a:lnTo>
                  <a:pt x="1044676" y="269875"/>
                </a:lnTo>
                <a:lnTo>
                  <a:pt x="1018565" y="241134"/>
                </a:lnTo>
                <a:lnTo>
                  <a:pt x="1006170" y="237845"/>
                </a:lnTo>
                <a:lnTo>
                  <a:pt x="1006170" y="291553"/>
                </a:lnTo>
                <a:lnTo>
                  <a:pt x="991870" y="308127"/>
                </a:lnTo>
                <a:lnTo>
                  <a:pt x="976096" y="320027"/>
                </a:lnTo>
                <a:lnTo>
                  <a:pt x="958799" y="327190"/>
                </a:lnTo>
                <a:lnTo>
                  <a:pt x="939965" y="329590"/>
                </a:lnTo>
                <a:lnTo>
                  <a:pt x="923950" y="327634"/>
                </a:lnTo>
                <a:lnTo>
                  <a:pt x="909612" y="321754"/>
                </a:lnTo>
                <a:lnTo>
                  <a:pt x="896975" y="311937"/>
                </a:lnTo>
                <a:lnTo>
                  <a:pt x="886079" y="298208"/>
                </a:lnTo>
                <a:lnTo>
                  <a:pt x="898944" y="291134"/>
                </a:lnTo>
                <a:lnTo>
                  <a:pt x="936180" y="274370"/>
                </a:lnTo>
                <a:lnTo>
                  <a:pt x="958075" y="271094"/>
                </a:lnTo>
                <a:lnTo>
                  <a:pt x="963282" y="271094"/>
                </a:lnTo>
                <a:lnTo>
                  <a:pt x="987615" y="278231"/>
                </a:lnTo>
                <a:lnTo>
                  <a:pt x="994727" y="281559"/>
                </a:lnTo>
                <a:lnTo>
                  <a:pt x="998550" y="283933"/>
                </a:lnTo>
                <a:lnTo>
                  <a:pt x="1000010" y="285369"/>
                </a:lnTo>
                <a:lnTo>
                  <a:pt x="1006170" y="291553"/>
                </a:lnTo>
                <a:lnTo>
                  <a:pt x="1006170" y="237845"/>
                </a:lnTo>
                <a:lnTo>
                  <a:pt x="1006017" y="237807"/>
                </a:lnTo>
                <a:lnTo>
                  <a:pt x="993990" y="235661"/>
                </a:lnTo>
                <a:lnTo>
                  <a:pt x="978090" y="233057"/>
                </a:lnTo>
                <a:lnTo>
                  <a:pt x="968552" y="231622"/>
                </a:lnTo>
                <a:lnTo>
                  <a:pt x="962837" y="230200"/>
                </a:lnTo>
                <a:lnTo>
                  <a:pt x="912850" y="243992"/>
                </a:lnTo>
                <a:lnTo>
                  <a:pt x="877049" y="257784"/>
                </a:lnTo>
                <a:lnTo>
                  <a:pt x="835558" y="281686"/>
                </a:lnTo>
                <a:lnTo>
                  <a:pt x="804113" y="310578"/>
                </a:lnTo>
                <a:lnTo>
                  <a:pt x="779640" y="340398"/>
                </a:lnTo>
                <a:lnTo>
                  <a:pt x="760717" y="377634"/>
                </a:lnTo>
                <a:lnTo>
                  <a:pt x="759320" y="390944"/>
                </a:lnTo>
                <a:lnTo>
                  <a:pt x="759320" y="394754"/>
                </a:lnTo>
                <a:lnTo>
                  <a:pt x="780224" y="437959"/>
                </a:lnTo>
                <a:lnTo>
                  <a:pt x="829424" y="455625"/>
                </a:lnTo>
                <a:lnTo>
                  <a:pt x="872731" y="458482"/>
                </a:lnTo>
                <a:lnTo>
                  <a:pt x="879411" y="458482"/>
                </a:lnTo>
                <a:lnTo>
                  <a:pt x="887539" y="458000"/>
                </a:lnTo>
                <a:lnTo>
                  <a:pt x="905256" y="457161"/>
                </a:lnTo>
                <a:lnTo>
                  <a:pt x="911999" y="456755"/>
                </a:lnTo>
                <a:lnTo>
                  <a:pt x="918298" y="456260"/>
                </a:lnTo>
                <a:lnTo>
                  <a:pt x="924217" y="455625"/>
                </a:lnTo>
                <a:lnTo>
                  <a:pt x="985202" y="449910"/>
                </a:lnTo>
                <a:lnTo>
                  <a:pt x="1016571" y="444931"/>
                </a:lnTo>
                <a:lnTo>
                  <a:pt x="1042111" y="437845"/>
                </a:lnTo>
                <a:lnTo>
                  <a:pt x="1057148" y="430885"/>
                </a:lnTo>
                <a:lnTo>
                  <a:pt x="1061834" y="428713"/>
                </a:lnTo>
                <a:lnTo>
                  <a:pt x="1075804" y="417576"/>
                </a:lnTo>
                <a:close/>
              </a:path>
            </a:pathLst>
          </a:custGeom>
          <a:solidFill>
            <a:srgbClr val="D9383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712470" y="3085287"/>
            <a:ext cx="1414780" cy="546100"/>
          </a:xfrm>
          <a:custGeom>
            <a:avLst/>
            <a:gdLst/>
            <a:ahLst/>
            <a:cxnLst/>
            <a:rect l="l" t="t" r="r" b="b"/>
            <a:pathLst>
              <a:path w="1414779" h="546100">
                <a:moveTo>
                  <a:pt x="316496" y="277253"/>
                </a:moveTo>
                <a:lnTo>
                  <a:pt x="275539" y="278663"/>
                </a:lnTo>
                <a:lnTo>
                  <a:pt x="228003" y="281533"/>
                </a:lnTo>
                <a:lnTo>
                  <a:pt x="188620" y="285216"/>
                </a:lnTo>
                <a:lnTo>
                  <a:pt x="155473" y="288963"/>
                </a:lnTo>
                <a:lnTo>
                  <a:pt x="145021" y="289852"/>
                </a:lnTo>
                <a:lnTo>
                  <a:pt x="135458" y="290385"/>
                </a:lnTo>
                <a:lnTo>
                  <a:pt x="126771" y="290563"/>
                </a:lnTo>
                <a:lnTo>
                  <a:pt x="113131" y="290131"/>
                </a:lnTo>
                <a:lnTo>
                  <a:pt x="62496" y="277571"/>
                </a:lnTo>
                <a:lnTo>
                  <a:pt x="44805" y="246341"/>
                </a:lnTo>
                <a:lnTo>
                  <a:pt x="45961" y="237617"/>
                </a:lnTo>
                <a:lnTo>
                  <a:pt x="71043" y="208775"/>
                </a:lnTo>
                <a:lnTo>
                  <a:pt x="75806" y="205917"/>
                </a:lnTo>
                <a:lnTo>
                  <a:pt x="78663" y="205917"/>
                </a:lnTo>
                <a:lnTo>
                  <a:pt x="80568" y="206870"/>
                </a:lnTo>
                <a:lnTo>
                  <a:pt x="83883" y="209245"/>
                </a:lnTo>
                <a:lnTo>
                  <a:pt x="86741" y="211620"/>
                </a:lnTo>
                <a:lnTo>
                  <a:pt x="90551" y="213525"/>
                </a:lnTo>
                <a:lnTo>
                  <a:pt x="95313" y="214477"/>
                </a:lnTo>
                <a:lnTo>
                  <a:pt x="104267" y="216611"/>
                </a:lnTo>
                <a:lnTo>
                  <a:pt x="113258" y="218643"/>
                </a:lnTo>
                <a:lnTo>
                  <a:pt x="158419" y="224764"/>
                </a:lnTo>
                <a:lnTo>
                  <a:pt x="166801" y="224942"/>
                </a:lnTo>
                <a:lnTo>
                  <a:pt x="181000" y="224409"/>
                </a:lnTo>
                <a:lnTo>
                  <a:pt x="221627" y="216382"/>
                </a:lnTo>
                <a:lnTo>
                  <a:pt x="259892" y="197993"/>
                </a:lnTo>
                <a:lnTo>
                  <a:pt x="288734" y="162458"/>
                </a:lnTo>
                <a:lnTo>
                  <a:pt x="289814" y="151231"/>
                </a:lnTo>
                <a:lnTo>
                  <a:pt x="289420" y="145046"/>
                </a:lnTo>
                <a:lnTo>
                  <a:pt x="289306" y="143611"/>
                </a:lnTo>
                <a:lnTo>
                  <a:pt x="287896" y="136601"/>
                </a:lnTo>
                <a:lnTo>
                  <a:pt x="285800" y="130771"/>
                </a:lnTo>
                <a:lnTo>
                  <a:pt x="285369" y="129552"/>
                </a:lnTo>
                <a:lnTo>
                  <a:pt x="259308" y="100812"/>
                </a:lnTo>
                <a:lnTo>
                  <a:pt x="246862" y="97523"/>
                </a:lnTo>
                <a:lnTo>
                  <a:pt x="246862" y="151231"/>
                </a:lnTo>
                <a:lnTo>
                  <a:pt x="232549" y="167805"/>
                </a:lnTo>
                <a:lnTo>
                  <a:pt x="216776" y="179705"/>
                </a:lnTo>
                <a:lnTo>
                  <a:pt x="199491" y="186867"/>
                </a:lnTo>
                <a:lnTo>
                  <a:pt x="180644" y="189268"/>
                </a:lnTo>
                <a:lnTo>
                  <a:pt x="164642" y="187312"/>
                </a:lnTo>
                <a:lnTo>
                  <a:pt x="150304" y="181432"/>
                </a:lnTo>
                <a:lnTo>
                  <a:pt x="137668" y="171615"/>
                </a:lnTo>
                <a:lnTo>
                  <a:pt x="126771" y="157886"/>
                </a:lnTo>
                <a:lnTo>
                  <a:pt x="139636" y="150812"/>
                </a:lnTo>
                <a:lnTo>
                  <a:pt x="176872" y="134048"/>
                </a:lnTo>
                <a:lnTo>
                  <a:pt x="198755" y="130771"/>
                </a:lnTo>
                <a:lnTo>
                  <a:pt x="203974" y="130771"/>
                </a:lnTo>
                <a:lnTo>
                  <a:pt x="212547" y="131724"/>
                </a:lnTo>
                <a:lnTo>
                  <a:pt x="216357" y="132676"/>
                </a:lnTo>
                <a:lnTo>
                  <a:pt x="221627" y="134581"/>
                </a:lnTo>
                <a:lnTo>
                  <a:pt x="228307" y="137909"/>
                </a:lnTo>
                <a:lnTo>
                  <a:pt x="235419" y="141236"/>
                </a:lnTo>
                <a:lnTo>
                  <a:pt x="239229" y="143611"/>
                </a:lnTo>
                <a:lnTo>
                  <a:pt x="240690" y="145046"/>
                </a:lnTo>
                <a:lnTo>
                  <a:pt x="246862" y="151231"/>
                </a:lnTo>
                <a:lnTo>
                  <a:pt x="246862" y="97523"/>
                </a:lnTo>
                <a:lnTo>
                  <a:pt x="246710" y="97485"/>
                </a:lnTo>
                <a:lnTo>
                  <a:pt x="234683" y="95338"/>
                </a:lnTo>
                <a:lnTo>
                  <a:pt x="218770" y="92735"/>
                </a:lnTo>
                <a:lnTo>
                  <a:pt x="209245" y="91300"/>
                </a:lnTo>
                <a:lnTo>
                  <a:pt x="203530" y="89877"/>
                </a:lnTo>
                <a:lnTo>
                  <a:pt x="153530" y="103670"/>
                </a:lnTo>
                <a:lnTo>
                  <a:pt x="117741" y="117462"/>
                </a:lnTo>
                <a:lnTo>
                  <a:pt x="76263" y="141363"/>
                </a:lnTo>
                <a:lnTo>
                  <a:pt x="44805" y="170256"/>
                </a:lnTo>
                <a:lnTo>
                  <a:pt x="20320" y="200075"/>
                </a:lnTo>
                <a:lnTo>
                  <a:pt x="1397" y="237312"/>
                </a:lnTo>
                <a:lnTo>
                  <a:pt x="0" y="250621"/>
                </a:lnTo>
                <a:lnTo>
                  <a:pt x="0" y="254431"/>
                </a:lnTo>
                <a:lnTo>
                  <a:pt x="20916" y="297637"/>
                </a:lnTo>
                <a:lnTo>
                  <a:pt x="70116" y="315302"/>
                </a:lnTo>
                <a:lnTo>
                  <a:pt x="113423" y="318160"/>
                </a:lnTo>
                <a:lnTo>
                  <a:pt x="120091" y="318160"/>
                </a:lnTo>
                <a:lnTo>
                  <a:pt x="128231" y="317677"/>
                </a:lnTo>
                <a:lnTo>
                  <a:pt x="145935" y="316839"/>
                </a:lnTo>
                <a:lnTo>
                  <a:pt x="152679" y="316433"/>
                </a:lnTo>
                <a:lnTo>
                  <a:pt x="158991" y="315937"/>
                </a:lnTo>
                <a:lnTo>
                  <a:pt x="164896" y="315302"/>
                </a:lnTo>
                <a:lnTo>
                  <a:pt x="225894" y="309587"/>
                </a:lnTo>
                <a:lnTo>
                  <a:pt x="257289" y="304609"/>
                </a:lnTo>
                <a:lnTo>
                  <a:pt x="282829" y="297522"/>
                </a:lnTo>
                <a:lnTo>
                  <a:pt x="297840" y="290563"/>
                </a:lnTo>
                <a:lnTo>
                  <a:pt x="302539" y="288391"/>
                </a:lnTo>
                <a:lnTo>
                  <a:pt x="316496" y="277253"/>
                </a:lnTo>
                <a:close/>
              </a:path>
              <a:path w="1414779" h="546100">
                <a:moveTo>
                  <a:pt x="662990" y="326720"/>
                </a:moveTo>
                <a:lnTo>
                  <a:pt x="651560" y="324662"/>
                </a:lnTo>
                <a:lnTo>
                  <a:pt x="617677" y="319100"/>
                </a:lnTo>
                <a:lnTo>
                  <a:pt x="608939" y="314210"/>
                </a:lnTo>
                <a:lnTo>
                  <a:pt x="592455" y="276301"/>
                </a:lnTo>
                <a:lnTo>
                  <a:pt x="591947" y="264414"/>
                </a:lnTo>
                <a:lnTo>
                  <a:pt x="592658" y="255066"/>
                </a:lnTo>
                <a:lnTo>
                  <a:pt x="594804" y="245567"/>
                </a:lnTo>
                <a:lnTo>
                  <a:pt x="598385" y="235991"/>
                </a:lnTo>
                <a:lnTo>
                  <a:pt x="603389" y="226364"/>
                </a:lnTo>
                <a:lnTo>
                  <a:pt x="604824" y="224332"/>
                </a:lnTo>
                <a:lnTo>
                  <a:pt x="612368" y="212394"/>
                </a:lnTo>
                <a:lnTo>
                  <a:pt x="631507" y="179108"/>
                </a:lnTo>
                <a:lnTo>
                  <a:pt x="645401" y="139471"/>
                </a:lnTo>
                <a:lnTo>
                  <a:pt x="650595" y="100812"/>
                </a:lnTo>
                <a:lnTo>
                  <a:pt x="649528" y="92075"/>
                </a:lnTo>
                <a:lnTo>
                  <a:pt x="646303" y="82981"/>
                </a:lnTo>
                <a:lnTo>
                  <a:pt x="644829" y="80365"/>
                </a:lnTo>
                <a:lnTo>
                  <a:pt x="640943" y="73533"/>
                </a:lnTo>
                <a:lnTo>
                  <a:pt x="640118" y="72453"/>
                </a:lnTo>
                <a:lnTo>
                  <a:pt x="640118" y="99860"/>
                </a:lnTo>
                <a:lnTo>
                  <a:pt x="640118" y="108902"/>
                </a:lnTo>
                <a:lnTo>
                  <a:pt x="639152" y="115074"/>
                </a:lnTo>
                <a:lnTo>
                  <a:pt x="637247" y="122212"/>
                </a:lnTo>
                <a:lnTo>
                  <a:pt x="635342" y="129832"/>
                </a:lnTo>
                <a:lnTo>
                  <a:pt x="633437" y="135064"/>
                </a:lnTo>
                <a:lnTo>
                  <a:pt x="631532" y="138861"/>
                </a:lnTo>
                <a:lnTo>
                  <a:pt x="615505" y="141185"/>
                </a:lnTo>
                <a:lnTo>
                  <a:pt x="601014" y="148196"/>
                </a:lnTo>
                <a:lnTo>
                  <a:pt x="587959" y="159931"/>
                </a:lnTo>
                <a:lnTo>
                  <a:pt x="576249" y="176441"/>
                </a:lnTo>
                <a:lnTo>
                  <a:pt x="561746" y="201498"/>
                </a:lnTo>
                <a:lnTo>
                  <a:pt x="550379" y="220370"/>
                </a:lnTo>
                <a:lnTo>
                  <a:pt x="524700" y="250101"/>
                </a:lnTo>
                <a:lnTo>
                  <a:pt x="482854" y="276783"/>
                </a:lnTo>
                <a:lnTo>
                  <a:pt x="432943" y="294170"/>
                </a:lnTo>
                <a:lnTo>
                  <a:pt x="418477" y="295325"/>
                </a:lnTo>
                <a:lnTo>
                  <a:pt x="411137" y="294982"/>
                </a:lnTo>
                <a:lnTo>
                  <a:pt x="373748" y="276961"/>
                </a:lnTo>
                <a:lnTo>
                  <a:pt x="367969" y="257759"/>
                </a:lnTo>
                <a:lnTo>
                  <a:pt x="369658" y="245910"/>
                </a:lnTo>
                <a:lnTo>
                  <a:pt x="395097" y="201155"/>
                </a:lnTo>
                <a:lnTo>
                  <a:pt x="424484" y="168389"/>
                </a:lnTo>
                <a:lnTo>
                  <a:pt x="455574" y="140309"/>
                </a:lnTo>
                <a:lnTo>
                  <a:pt x="486333" y="114947"/>
                </a:lnTo>
                <a:lnTo>
                  <a:pt x="533869" y="88150"/>
                </a:lnTo>
                <a:lnTo>
                  <a:pt x="568121" y="81788"/>
                </a:lnTo>
                <a:lnTo>
                  <a:pt x="571931" y="81788"/>
                </a:lnTo>
                <a:lnTo>
                  <a:pt x="576249" y="81318"/>
                </a:lnTo>
                <a:lnTo>
                  <a:pt x="586232" y="80365"/>
                </a:lnTo>
                <a:lnTo>
                  <a:pt x="606755" y="80365"/>
                </a:lnTo>
                <a:lnTo>
                  <a:pt x="637692" y="94627"/>
                </a:lnTo>
                <a:lnTo>
                  <a:pt x="639152" y="96532"/>
                </a:lnTo>
                <a:lnTo>
                  <a:pt x="640118" y="99860"/>
                </a:lnTo>
                <a:lnTo>
                  <a:pt x="640118" y="72453"/>
                </a:lnTo>
                <a:lnTo>
                  <a:pt x="608291" y="45466"/>
                </a:lnTo>
                <a:lnTo>
                  <a:pt x="600087" y="44221"/>
                </a:lnTo>
                <a:lnTo>
                  <a:pt x="552818" y="57315"/>
                </a:lnTo>
                <a:lnTo>
                  <a:pt x="508266" y="74422"/>
                </a:lnTo>
                <a:lnTo>
                  <a:pt x="466483" y="95453"/>
                </a:lnTo>
                <a:lnTo>
                  <a:pt x="427507" y="120319"/>
                </a:lnTo>
                <a:lnTo>
                  <a:pt x="386854" y="154901"/>
                </a:lnTo>
                <a:lnTo>
                  <a:pt x="357822" y="191592"/>
                </a:lnTo>
                <a:lnTo>
                  <a:pt x="340410" y="230327"/>
                </a:lnTo>
                <a:lnTo>
                  <a:pt x="334606" y="271068"/>
                </a:lnTo>
                <a:lnTo>
                  <a:pt x="335521" y="283921"/>
                </a:lnTo>
                <a:lnTo>
                  <a:pt x="356793" y="318401"/>
                </a:lnTo>
                <a:lnTo>
                  <a:pt x="387477" y="324815"/>
                </a:lnTo>
                <a:lnTo>
                  <a:pt x="404990" y="323456"/>
                </a:lnTo>
                <a:lnTo>
                  <a:pt x="448424" y="312369"/>
                </a:lnTo>
                <a:lnTo>
                  <a:pt x="490829" y="295325"/>
                </a:lnTo>
                <a:lnTo>
                  <a:pt x="498030" y="292112"/>
                </a:lnTo>
                <a:lnTo>
                  <a:pt x="517880" y="282930"/>
                </a:lnTo>
                <a:lnTo>
                  <a:pt x="542899" y="271068"/>
                </a:lnTo>
                <a:lnTo>
                  <a:pt x="550214" y="284899"/>
                </a:lnTo>
                <a:lnTo>
                  <a:pt x="578599" y="324815"/>
                </a:lnTo>
                <a:lnTo>
                  <a:pt x="617220" y="356044"/>
                </a:lnTo>
                <a:lnTo>
                  <a:pt x="628675" y="358101"/>
                </a:lnTo>
                <a:lnTo>
                  <a:pt x="635342" y="358101"/>
                </a:lnTo>
                <a:lnTo>
                  <a:pt x="659599" y="334314"/>
                </a:lnTo>
                <a:lnTo>
                  <a:pt x="662990" y="326720"/>
                </a:lnTo>
                <a:close/>
              </a:path>
              <a:path w="1414779" h="546100">
                <a:moveTo>
                  <a:pt x="1066723" y="6172"/>
                </a:moveTo>
                <a:lnTo>
                  <a:pt x="1060056" y="5702"/>
                </a:lnTo>
                <a:lnTo>
                  <a:pt x="1053376" y="3327"/>
                </a:lnTo>
                <a:lnTo>
                  <a:pt x="1047661" y="0"/>
                </a:lnTo>
                <a:lnTo>
                  <a:pt x="1007224" y="13627"/>
                </a:lnTo>
                <a:lnTo>
                  <a:pt x="967486" y="26631"/>
                </a:lnTo>
                <a:lnTo>
                  <a:pt x="928395" y="38912"/>
                </a:lnTo>
                <a:lnTo>
                  <a:pt x="889889" y="50406"/>
                </a:lnTo>
                <a:lnTo>
                  <a:pt x="859840" y="59601"/>
                </a:lnTo>
                <a:lnTo>
                  <a:pt x="814578" y="75488"/>
                </a:lnTo>
                <a:lnTo>
                  <a:pt x="776198" y="96532"/>
                </a:lnTo>
                <a:lnTo>
                  <a:pt x="757339" y="113652"/>
                </a:lnTo>
                <a:lnTo>
                  <a:pt x="769061" y="124523"/>
                </a:lnTo>
                <a:lnTo>
                  <a:pt x="782739" y="133565"/>
                </a:lnTo>
                <a:lnTo>
                  <a:pt x="798385" y="140741"/>
                </a:lnTo>
                <a:lnTo>
                  <a:pt x="815987" y="145999"/>
                </a:lnTo>
                <a:lnTo>
                  <a:pt x="849845" y="151993"/>
                </a:lnTo>
                <a:lnTo>
                  <a:pt x="883666" y="158356"/>
                </a:lnTo>
                <a:lnTo>
                  <a:pt x="928700" y="170002"/>
                </a:lnTo>
                <a:lnTo>
                  <a:pt x="966355" y="191350"/>
                </a:lnTo>
                <a:lnTo>
                  <a:pt x="974712" y="210197"/>
                </a:lnTo>
                <a:lnTo>
                  <a:pt x="973810" y="217347"/>
                </a:lnTo>
                <a:lnTo>
                  <a:pt x="943559" y="253149"/>
                </a:lnTo>
                <a:lnTo>
                  <a:pt x="901890" y="277406"/>
                </a:lnTo>
                <a:lnTo>
                  <a:pt x="849591" y="297281"/>
                </a:lnTo>
                <a:lnTo>
                  <a:pt x="802932" y="307784"/>
                </a:lnTo>
                <a:lnTo>
                  <a:pt x="782637" y="309118"/>
                </a:lnTo>
                <a:lnTo>
                  <a:pt x="767080" y="305117"/>
                </a:lnTo>
                <a:lnTo>
                  <a:pt x="751827" y="295986"/>
                </a:lnTo>
                <a:lnTo>
                  <a:pt x="736854" y="281774"/>
                </a:lnTo>
                <a:lnTo>
                  <a:pt x="722083" y="262521"/>
                </a:lnTo>
                <a:lnTo>
                  <a:pt x="706970" y="241465"/>
                </a:lnTo>
                <a:lnTo>
                  <a:pt x="693077" y="225412"/>
                </a:lnTo>
                <a:lnTo>
                  <a:pt x="680339" y="214363"/>
                </a:lnTo>
                <a:lnTo>
                  <a:pt x="668705" y="208292"/>
                </a:lnTo>
                <a:lnTo>
                  <a:pt x="668261" y="210667"/>
                </a:lnTo>
                <a:lnTo>
                  <a:pt x="668261" y="218287"/>
                </a:lnTo>
                <a:lnTo>
                  <a:pt x="678205" y="262280"/>
                </a:lnTo>
                <a:lnTo>
                  <a:pt x="707783" y="301993"/>
                </a:lnTo>
                <a:lnTo>
                  <a:pt x="749261" y="330047"/>
                </a:lnTo>
                <a:lnTo>
                  <a:pt x="795020" y="339559"/>
                </a:lnTo>
                <a:lnTo>
                  <a:pt x="822363" y="337527"/>
                </a:lnTo>
                <a:lnTo>
                  <a:pt x="882408" y="321500"/>
                </a:lnTo>
                <a:lnTo>
                  <a:pt x="947902" y="290487"/>
                </a:lnTo>
                <a:lnTo>
                  <a:pt x="995426" y="253390"/>
                </a:lnTo>
                <a:lnTo>
                  <a:pt x="1016419" y="217690"/>
                </a:lnTo>
                <a:lnTo>
                  <a:pt x="1018565" y="204025"/>
                </a:lnTo>
                <a:lnTo>
                  <a:pt x="1014006" y="186283"/>
                </a:lnTo>
                <a:lnTo>
                  <a:pt x="977734" y="155790"/>
                </a:lnTo>
                <a:lnTo>
                  <a:pt x="925017" y="136728"/>
                </a:lnTo>
                <a:lnTo>
                  <a:pt x="871740" y="121945"/>
                </a:lnTo>
                <a:lnTo>
                  <a:pt x="839381" y="113652"/>
                </a:lnTo>
                <a:lnTo>
                  <a:pt x="850722" y="103492"/>
                </a:lnTo>
                <a:lnTo>
                  <a:pt x="892238" y="79895"/>
                </a:lnTo>
                <a:lnTo>
                  <a:pt x="935215" y="66979"/>
                </a:lnTo>
                <a:lnTo>
                  <a:pt x="988364" y="55930"/>
                </a:lnTo>
                <a:lnTo>
                  <a:pt x="1014323" y="50342"/>
                </a:lnTo>
                <a:lnTo>
                  <a:pt x="1057490" y="28765"/>
                </a:lnTo>
                <a:lnTo>
                  <a:pt x="1063332" y="18402"/>
                </a:lnTo>
                <a:lnTo>
                  <a:pt x="1066723" y="6172"/>
                </a:lnTo>
                <a:close/>
              </a:path>
              <a:path w="1414779" h="546100">
                <a:moveTo>
                  <a:pt x="1414678" y="54203"/>
                </a:moveTo>
                <a:lnTo>
                  <a:pt x="1412252" y="48983"/>
                </a:lnTo>
                <a:lnTo>
                  <a:pt x="1407490" y="44221"/>
                </a:lnTo>
                <a:lnTo>
                  <a:pt x="1394599" y="31851"/>
                </a:lnTo>
                <a:lnTo>
                  <a:pt x="1378140" y="47917"/>
                </a:lnTo>
                <a:lnTo>
                  <a:pt x="1344866" y="88976"/>
                </a:lnTo>
                <a:lnTo>
                  <a:pt x="1320558" y="126441"/>
                </a:lnTo>
                <a:lnTo>
                  <a:pt x="1274495" y="208292"/>
                </a:lnTo>
                <a:lnTo>
                  <a:pt x="1266647" y="222110"/>
                </a:lnTo>
                <a:lnTo>
                  <a:pt x="1230236" y="274980"/>
                </a:lnTo>
                <a:lnTo>
                  <a:pt x="1200010" y="299427"/>
                </a:lnTo>
                <a:lnTo>
                  <a:pt x="1186307" y="302463"/>
                </a:lnTo>
                <a:lnTo>
                  <a:pt x="1166837" y="301028"/>
                </a:lnTo>
                <a:lnTo>
                  <a:pt x="1127721" y="278676"/>
                </a:lnTo>
                <a:lnTo>
                  <a:pt x="1115631" y="240499"/>
                </a:lnTo>
                <a:lnTo>
                  <a:pt x="1114818" y="222567"/>
                </a:lnTo>
                <a:lnTo>
                  <a:pt x="1114996" y="214909"/>
                </a:lnTo>
                <a:lnTo>
                  <a:pt x="1115479" y="205498"/>
                </a:lnTo>
                <a:lnTo>
                  <a:pt x="1117244" y="181660"/>
                </a:lnTo>
                <a:lnTo>
                  <a:pt x="1118984" y="151638"/>
                </a:lnTo>
                <a:lnTo>
                  <a:pt x="1114907" y="112763"/>
                </a:lnTo>
                <a:lnTo>
                  <a:pt x="1078611" y="88455"/>
                </a:lnTo>
                <a:lnTo>
                  <a:pt x="1076299" y="102362"/>
                </a:lnTo>
                <a:lnTo>
                  <a:pt x="1070432" y="150596"/>
                </a:lnTo>
                <a:lnTo>
                  <a:pt x="1068628" y="195935"/>
                </a:lnTo>
                <a:lnTo>
                  <a:pt x="1069263" y="219379"/>
                </a:lnTo>
                <a:lnTo>
                  <a:pt x="1074635" y="259130"/>
                </a:lnTo>
                <a:lnTo>
                  <a:pt x="1097165" y="305320"/>
                </a:lnTo>
                <a:lnTo>
                  <a:pt x="1153452" y="323392"/>
                </a:lnTo>
                <a:lnTo>
                  <a:pt x="1160170" y="325882"/>
                </a:lnTo>
                <a:lnTo>
                  <a:pt x="1164640" y="330466"/>
                </a:lnTo>
                <a:lnTo>
                  <a:pt x="1166964" y="337096"/>
                </a:lnTo>
                <a:lnTo>
                  <a:pt x="1167244" y="345744"/>
                </a:lnTo>
                <a:lnTo>
                  <a:pt x="1166355" y="351256"/>
                </a:lnTo>
                <a:lnTo>
                  <a:pt x="1144917" y="383438"/>
                </a:lnTo>
                <a:lnTo>
                  <a:pt x="1110564" y="421360"/>
                </a:lnTo>
                <a:lnTo>
                  <a:pt x="1105801" y="427697"/>
                </a:lnTo>
                <a:lnTo>
                  <a:pt x="1095108" y="441032"/>
                </a:lnTo>
                <a:lnTo>
                  <a:pt x="1078433" y="461416"/>
                </a:lnTo>
                <a:lnTo>
                  <a:pt x="1055725" y="488886"/>
                </a:lnTo>
                <a:lnTo>
                  <a:pt x="1047432" y="499605"/>
                </a:lnTo>
                <a:lnTo>
                  <a:pt x="1040333" y="509701"/>
                </a:lnTo>
                <a:lnTo>
                  <a:pt x="1034389" y="519252"/>
                </a:lnTo>
                <a:lnTo>
                  <a:pt x="1029550" y="528358"/>
                </a:lnTo>
                <a:lnTo>
                  <a:pt x="1036218" y="532168"/>
                </a:lnTo>
                <a:lnTo>
                  <a:pt x="1043343" y="535978"/>
                </a:lnTo>
                <a:lnTo>
                  <a:pt x="1050010" y="540258"/>
                </a:lnTo>
                <a:lnTo>
                  <a:pt x="1057198" y="544055"/>
                </a:lnTo>
                <a:lnTo>
                  <a:pt x="1061961" y="545960"/>
                </a:lnTo>
                <a:lnTo>
                  <a:pt x="1065771" y="545960"/>
                </a:lnTo>
                <a:lnTo>
                  <a:pt x="1071016" y="544880"/>
                </a:lnTo>
                <a:lnTo>
                  <a:pt x="1076045" y="541616"/>
                </a:lnTo>
                <a:lnTo>
                  <a:pt x="1080820" y="536130"/>
                </a:lnTo>
                <a:lnTo>
                  <a:pt x="1085278" y="528358"/>
                </a:lnTo>
                <a:lnTo>
                  <a:pt x="1122959" y="465582"/>
                </a:lnTo>
                <a:lnTo>
                  <a:pt x="1157922" y="409232"/>
                </a:lnTo>
                <a:lnTo>
                  <a:pt x="1179639" y="377126"/>
                </a:lnTo>
                <a:lnTo>
                  <a:pt x="1219822" y="336765"/>
                </a:lnTo>
                <a:lnTo>
                  <a:pt x="1262113" y="315302"/>
                </a:lnTo>
                <a:lnTo>
                  <a:pt x="1258303" y="306743"/>
                </a:lnTo>
                <a:lnTo>
                  <a:pt x="1256398" y="298653"/>
                </a:lnTo>
                <a:lnTo>
                  <a:pt x="1256398" y="285343"/>
                </a:lnTo>
                <a:lnTo>
                  <a:pt x="1258303" y="278206"/>
                </a:lnTo>
                <a:lnTo>
                  <a:pt x="1263065" y="271068"/>
                </a:lnTo>
                <a:lnTo>
                  <a:pt x="1285786" y="242849"/>
                </a:lnTo>
                <a:lnTo>
                  <a:pt x="1293558" y="233502"/>
                </a:lnTo>
                <a:lnTo>
                  <a:pt x="1297686" y="227977"/>
                </a:lnTo>
                <a:lnTo>
                  <a:pt x="1307871" y="214960"/>
                </a:lnTo>
                <a:lnTo>
                  <a:pt x="1346492" y="166446"/>
                </a:lnTo>
                <a:lnTo>
                  <a:pt x="1355318" y="155117"/>
                </a:lnTo>
                <a:lnTo>
                  <a:pt x="1363154" y="144627"/>
                </a:lnTo>
                <a:lnTo>
                  <a:pt x="1369923" y="134950"/>
                </a:lnTo>
                <a:lnTo>
                  <a:pt x="1375537" y="126022"/>
                </a:lnTo>
                <a:lnTo>
                  <a:pt x="1381252" y="118808"/>
                </a:lnTo>
                <a:lnTo>
                  <a:pt x="1405585" y="86017"/>
                </a:lnTo>
                <a:lnTo>
                  <a:pt x="1414678" y="60871"/>
                </a:lnTo>
                <a:lnTo>
                  <a:pt x="1414678" y="54203"/>
                </a:lnTo>
                <a:close/>
              </a:path>
            </a:pathLst>
          </a:custGeom>
          <a:solidFill>
            <a:srgbClr val="D93831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" name="object 6"/>
          <p:cNvGrpSpPr/>
          <p:nvPr/>
        </p:nvGrpSpPr>
        <p:grpSpPr>
          <a:xfrm>
            <a:off x="9113048" y="34"/>
            <a:ext cx="3079115" cy="6858634"/>
            <a:chOff x="9113048" y="34"/>
            <a:chExt cx="3079115" cy="6858634"/>
          </a:xfrm>
        </p:grpSpPr>
        <p:sp>
          <p:nvSpPr>
            <p:cNvPr id="7" name="object 7"/>
            <p:cNvSpPr/>
            <p:nvPr/>
          </p:nvSpPr>
          <p:spPr>
            <a:xfrm>
              <a:off x="9113048" y="34"/>
              <a:ext cx="3079115" cy="6849745"/>
            </a:xfrm>
            <a:custGeom>
              <a:avLst/>
              <a:gdLst/>
              <a:ahLst/>
              <a:cxnLst/>
              <a:rect l="l" t="t" r="r" b="b"/>
              <a:pathLst>
                <a:path w="3079115" h="6849745">
                  <a:moveTo>
                    <a:pt x="3078918" y="0"/>
                  </a:moveTo>
                  <a:lnTo>
                    <a:pt x="0" y="0"/>
                  </a:lnTo>
                  <a:lnTo>
                    <a:pt x="47281" y="44751"/>
                  </a:lnTo>
                  <a:lnTo>
                    <a:pt x="94919" y="90836"/>
                  </a:lnTo>
                  <a:lnTo>
                    <a:pt x="141865" y="137253"/>
                  </a:lnTo>
                  <a:lnTo>
                    <a:pt x="188125" y="183993"/>
                  </a:lnTo>
                  <a:lnTo>
                    <a:pt x="233704" y="231049"/>
                  </a:lnTo>
                  <a:lnTo>
                    <a:pt x="278606" y="278414"/>
                  </a:lnTo>
                  <a:lnTo>
                    <a:pt x="322836" y="326081"/>
                  </a:lnTo>
                  <a:lnTo>
                    <a:pt x="366399" y="374043"/>
                  </a:lnTo>
                  <a:lnTo>
                    <a:pt x="409300" y="422293"/>
                  </a:lnTo>
                  <a:lnTo>
                    <a:pt x="451544" y="470822"/>
                  </a:lnTo>
                  <a:lnTo>
                    <a:pt x="493135" y="519626"/>
                  </a:lnTo>
                  <a:lnTo>
                    <a:pt x="534080" y="568695"/>
                  </a:lnTo>
                  <a:lnTo>
                    <a:pt x="574381" y="618023"/>
                  </a:lnTo>
                  <a:lnTo>
                    <a:pt x="614045" y="667602"/>
                  </a:lnTo>
                  <a:lnTo>
                    <a:pt x="653077" y="717426"/>
                  </a:lnTo>
                  <a:lnTo>
                    <a:pt x="691480" y="767488"/>
                  </a:lnTo>
                  <a:lnTo>
                    <a:pt x="729260" y="817779"/>
                  </a:lnTo>
                  <a:lnTo>
                    <a:pt x="766422" y="868293"/>
                  </a:lnTo>
                  <a:lnTo>
                    <a:pt x="802971" y="919023"/>
                  </a:lnTo>
                  <a:lnTo>
                    <a:pt x="838912" y="969962"/>
                  </a:lnTo>
                  <a:lnTo>
                    <a:pt x="874248" y="1021102"/>
                  </a:lnTo>
                  <a:lnTo>
                    <a:pt x="908987" y="1072436"/>
                  </a:lnTo>
                  <a:lnTo>
                    <a:pt x="943131" y="1123957"/>
                  </a:lnTo>
                  <a:lnTo>
                    <a:pt x="976686" y="1175658"/>
                  </a:lnTo>
                  <a:lnTo>
                    <a:pt x="1009658" y="1227531"/>
                  </a:lnTo>
                  <a:lnTo>
                    <a:pt x="1042050" y="1279570"/>
                  </a:lnTo>
                  <a:lnTo>
                    <a:pt x="1073868" y="1331767"/>
                  </a:lnTo>
                  <a:lnTo>
                    <a:pt x="1105116" y="1384115"/>
                  </a:lnTo>
                  <a:lnTo>
                    <a:pt x="1135800" y="1436607"/>
                  </a:lnTo>
                  <a:lnTo>
                    <a:pt x="1165925" y="1489235"/>
                  </a:lnTo>
                  <a:lnTo>
                    <a:pt x="1195494" y="1541994"/>
                  </a:lnTo>
                  <a:lnTo>
                    <a:pt x="1224514" y="1594874"/>
                  </a:lnTo>
                  <a:lnTo>
                    <a:pt x="1252988" y="1647869"/>
                  </a:lnTo>
                  <a:lnTo>
                    <a:pt x="1280923" y="1700973"/>
                  </a:lnTo>
                  <a:lnTo>
                    <a:pt x="1308322" y="1754177"/>
                  </a:lnTo>
                  <a:lnTo>
                    <a:pt x="1335190" y="1807475"/>
                  </a:lnTo>
                  <a:lnTo>
                    <a:pt x="1361533" y="1860859"/>
                  </a:lnTo>
                  <a:lnTo>
                    <a:pt x="1387356" y="1914322"/>
                  </a:lnTo>
                  <a:lnTo>
                    <a:pt x="1412662" y="1967857"/>
                  </a:lnTo>
                  <a:lnTo>
                    <a:pt x="1437458" y="2021457"/>
                  </a:lnTo>
                  <a:lnTo>
                    <a:pt x="1461748" y="2075115"/>
                  </a:lnTo>
                  <a:lnTo>
                    <a:pt x="1485536" y="2128823"/>
                  </a:lnTo>
                  <a:lnTo>
                    <a:pt x="1508828" y="2182574"/>
                  </a:lnTo>
                  <a:lnTo>
                    <a:pt x="1531629" y="2236362"/>
                  </a:lnTo>
                  <a:lnTo>
                    <a:pt x="1553943" y="2290178"/>
                  </a:lnTo>
                  <a:lnTo>
                    <a:pt x="1575776" y="2344016"/>
                  </a:lnTo>
                  <a:lnTo>
                    <a:pt x="1597132" y="2397869"/>
                  </a:lnTo>
                  <a:lnTo>
                    <a:pt x="1618015" y="2451729"/>
                  </a:lnTo>
                  <a:lnTo>
                    <a:pt x="1638432" y="2505589"/>
                  </a:lnTo>
                  <a:lnTo>
                    <a:pt x="1658387" y="2559442"/>
                  </a:lnTo>
                  <a:lnTo>
                    <a:pt x="1677884" y="2613280"/>
                  </a:lnTo>
                  <a:lnTo>
                    <a:pt x="1696929" y="2667098"/>
                  </a:lnTo>
                  <a:lnTo>
                    <a:pt x="1715526" y="2720886"/>
                  </a:lnTo>
                  <a:lnTo>
                    <a:pt x="1733681" y="2774639"/>
                  </a:lnTo>
                  <a:lnTo>
                    <a:pt x="1751397" y="2828349"/>
                  </a:lnTo>
                  <a:lnTo>
                    <a:pt x="1768681" y="2882009"/>
                  </a:lnTo>
                  <a:lnTo>
                    <a:pt x="1785537" y="2935611"/>
                  </a:lnTo>
                  <a:lnTo>
                    <a:pt x="1801970" y="2989149"/>
                  </a:lnTo>
                  <a:lnTo>
                    <a:pt x="1817984" y="3042615"/>
                  </a:lnTo>
                  <a:lnTo>
                    <a:pt x="1833585" y="3096002"/>
                  </a:lnTo>
                  <a:lnTo>
                    <a:pt x="1848777" y="3149303"/>
                  </a:lnTo>
                  <a:lnTo>
                    <a:pt x="1863566" y="3202511"/>
                  </a:lnTo>
                  <a:lnTo>
                    <a:pt x="1877956" y="3255619"/>
                  </a:lnTo>
                  <a:lnTo>
                    <a:pt x="1891952" y="3308618"/>
                  </a:lnTo>
                  <a:lnTo>
                    <a:pt x="1905559" y="3361503"/>
                  </a:lnTo>
                  <a:lnTo>
                    <a:pt x="1918782" y="3414266"/>
                  </a:lnTo>
                  <a:lnTo>
                    <a:pt x="1931625" y="3466900"/>
                  </a:lnTo>
                  <a:lnTo>
                    <a:pt x="1944094" y="3519397"/>
                  </a:lnTo>
                  <a:lnTo>
                    <a:pt x="1956193" y="3571751"/>
                  </a:lnTo>
                  <a:lnTo>
                    <a:pt x="1967928" y="3623954"/>
                  </a:lnTo>
                  <a:lnTo>
                    <a:pt x="1979303" y="3675999"/>
                  </a:lnTo>
                  <a:lnTo>
                    <a:pt x="1990323" y="3727878"/>
                  </a:lnTo>
                  <a:lnTo>
                    <a:pt x="2000993" y="3779586"/>
                  </a:lnTo>
                  <a:lnTo>
                    <a:pt x="2011318" y="3831114"/>
                  </a:lnTo>
                  <a:lnTo>
                    <a:pt x="2021302" y="3882455"/>
                  </a:lnTo>
                  <a:lnTo>
                    <a:pt x="2030951" y="3933602"/>
                  </a:lnTo>
                  <a:lnTo>
                    <a:pt x="2040270" y="3984549"/>
                  </a:lnTo>
                  <a:lnTo>
                    <a:pt x="2049263" y="4035287"/>
                  </a:lnTo>
                  <a:lnTo>
                    <a:pt x="2057935" y="4085810"/>
                  </a:lnTo>
                  <a:lnTo>
                    <a:pt x="2066291" y="4136110"/>
                  </a:lnTo>
                  <a:lnTo>
                    <a:pt x="2074336" y="4186180"/>
                  </a:lnTo>
                  <a:lnTo>
                    <a:pt x="2082075" y="4236013"/>
                  </a:lnTo>
                  <a:lnTo>
                    <a:pt x="2089512" y="4285602"/>
                  </a:lnTo>
                  <a:lnTo>
                    <a:pt x="2096653" y="4334940"/>
                  </a:lnTo>
                  <a:lnTo>
                    <a:pt x="2103503" y="4384019"/>
                  </a:lnTo>
                  <a:lnTo>
                    <a:pt x="2110066" y="4432832"/>
                  </a:lnTo>
                  <a:lnTo>
                    <a:pt x="2116347" y="4481372"/>
                  </a:lnTo>
                  <a:lnTo>
                    <a:pt x="2122351" y="4529633"/>
                  </a:lnTo>
                  <a:lnTo>
                    <a:pt x="2128083" y="4577606"/>
                  </a:lnTo>
                  <a:lnTo>
                    <a:pt x="2133548" y="4625284"/>
                  </a:lnTo>
                  <a:lnTo>
                    <a:pt x="2138750" y="4672661"/>
                  </a:lnTo>
                  <a:lnTo>
                    <a:pt x="2143695" y="4719729"/>
                  </a:lnTo>
                  <a:lnTo>
                    <a:pt x="2148388" y="4766481"/>
                  </a:lnTo>
                  <a:lnTo>
                    <a:pt x="2152833" y="4812910"/>
                  </a:lnTo>
                  <a:lnTo>
                    <a:pt x="2157035" y="4859008"/>
                  </a:lnTo>
                  <a:lnTo>
                    <a:pt x="2160999" y="4904769"/>
                  </a:lnTo>
                  <a:lnTo>
                    <a:pt x="2164730" y="4950185"/>
                  </a:lnTo>
                  <a:lnTo>
                    <a:pt x="2168233" y="4995249"/>
                  </a:lnTo>
                  <a:lnTo>
                    <a:pt x="2171513" y="5039954"/>
                  </a:lnTo>
                  <a:lnTo>
                    <a:pt x="2174574" y="5084292"/>
                  </a:lnTo>
                  <a:lnTo>
                    <a:pt x="2177421" y="5128257"/>
                  </a:lnTo>
                  <a:lnTo>
                    <a:pt x="2180060" y="5171841"/>
                  </a:lnTo>
                  <a:lnTo>
                    <a:pt x="2182495" y="5215037"/>
                  </a:lnTo>
                  <a:lnTo>
                    <a:pt x="2184732" y="5257839"/>
                  </a:lnTo>
                  <a:lnTo>
                    <a:pt x="2186774" y="5300238"/>
                  </a:lnTo>
                  <a:lnTo>
                    <a:pt x="2188627" y="5342227"/>
                  </a:lnTo>
                  <a:lnTo>
                    <a:pt x="2190295" y="5383800"/>
                  </a:lnTo>
                  <a:lnTo>
                    <a:pt x="2191784" y="5424949"/>
                  </a:lnTo>
                  <a:lnTo>
                    <a:pt x="2193099" y="5465667"/>
                  </a:lnTo>
                  <a:lnTo>
                    <a:pt x="2194244" y="5505947"/>
                  </a:lnTo>
                  <a:lnTo>
                    <a:pt x="2195296" y="5549243"/>
                  </a:lnTo>
                  <a:lnTo>
                    <a:pt x="2196709" y="5624085"/>
                  </a:lnTo>
                  <a:lnTo>
                    <a:pt x="2197224" y="5662540"/>
                  </a:lnTo>
                  <a:lnTo>
                    <a:pt x="2197801" y="5734543"/>
                  </a:lnTo>
                  <a:lnTo>
                    <a:pt x="2197842" y="5819854"/>
                  </a:lnTo>
                  <a:lnTo>
                    <a:pt x="2197716" y="5847560"/>
                  </a:lnTo>
                  <a:lnTo>
                    <a:pt x="2197033" y="5918048"/>
                  </a:lnTo>
                  <a:lnTo>
                    <a:pt x="2195840" y="5989387"/>
                  </a:lnTo>
                  <a:lnTo>
                    <a:pt x="2194370" y="6052673"/>
                  </a:lnTo>
                  <a:lnTo>
                    <a:pt x="2192469" y="6116695"/>
                  </a:lnTo>
                  <a:lnTo>
                    <a:pt x="2190240" y="6178447"/>
                  </a:lnTo>
                  <a:lnTo>
                    <a:pt x="2187722" y="6237871"/>
                  </a:lnTo>
                  <a:lnTo>
                    <a:pt x="2184955" y="6294910"/>
                  </a:lnTo>
                  <a:lnTo>
                    <a:pt x="2181977" y="6349507"/>
                  </a:lnTo>
                  <a:lnTo>
                    <a:pt x="2178827" y="6401603"/>
                  </a:lnTo>
                  <a:lnTo>
                    <a:pt x="2175544" y="6451142"/>
                  </a:lnTo>
                  <a:lnTo>
                    <a:pt x="2172168" y="6498065"/>
                  </a:lnTo>
                  <a:lnTo>
                    <a:pt x="2168736" y="6542316"/>
                  </a:lnTo>
                  <a:lnTo>
                    <a:pt x="2165289" y="6583837"/>
                  </a:lnTo>
                  <a:lnTo>
                    <a:pt x="2161866" y="6622570"/>
                  </a:lnTo>
                  <a:lnTo>
                    <a:pt x="2156859" y="6675318"/>
                  </a:lnTo>
                  <a:lnTo>
                    <a:pt x="2152123" y="6721470"/>
                  </a:lnTo>
                  <a:lnTo>
                    <a:pt x="2144726" y="6785537"/>
                  </a:lnTo>
                  <a:lnTo>
                    <a:pt x="2138404" y="6834804"/>
                  </a:lnTo>
                  <a:lnTo>
                    <a:pt x="2136752" y="6846637"/>
                  </a:lnTo>
                  <a:lnTo>
                    <a:pt x="2136752" y="6848630"/>
                  </a:lnTo>
                  <a:lnTo>
                    <a:pt x="2136220" y="6849129"/>
                  </a:lnTo>
                  <a:lnTo>
                    <a:pt x="2136752" y="6849129"/>
                  </a:lnTo>
                  <a:lnTo>
                    <a:pt x="2137217" y="6848630"/>
                  </a:lnTo>
                  <a:lnTo>
                    <a:pt x="2137749" y="6848133"/>
                  </a:lnTo>
                  <a:lnTo>
                    <a:pt x="2173651" y="6808687"/>
                  </a:lnTo>
                  <a:lnTo>
                    <a:pt x="2209109" y="6769076"/>
                  </a:lnTo>
                  <a:lnTo>
                    <a:pt x="2244124" y="6729303"/>
                  </a:lnTo>
                  <a:lnTo>
                    <a:pt x="2278699" y="6689373"/>
                  </a:lnTo>
                  <a:lnTo>
                    <a:pt x="2312836" y="6649287"/>
                  </a:lnTo>
                  <a:lnTo>
                    <a:pt x="2346537" y="6609049"/>
                  </a:lnTo>
                  <a:lnTo>
                    <a:pt x="2379806" y="6568662"/>
                  </a:lnTo>
                  <a:lnTo>
                    <a:pt x="2412645" y="6528129"/>
                  </a:lnTo>
                  <a:lnTo>
                    <a:pt x="2445055" y="6487454"/>
                  </a:lnTo>
                  <a:lnTo>
                    <a:pt x="2477040" y="6446639"/>
                  </a:lnTo>
                  <a:lnTo>
                    <a:pt x="2508602" y="6405688"/>
                  </a:lnTo>
                  <a:lnTo>
                    <a:pt x="2539744" y="6364604"/>
                  </a:lnTo>
                  <a:lnTo>
                    <a:pt x="2570467" y="6323391"/>
                  </a:lnTo>
                  <a:lnTo>
                    <a:pt x="2600775" y="6282050"/>
                  </a:lnTo>
                  <a:lnTo>
                    <a:pt x="2630669" y="6240586"/>
                  </a:lnTo>
                  <a:lnTo>
                    <a:pt x="2660153" y="6199002"/>
                  </a:lnTo>
                  <a:lnTo>
                    <a:pt x="2689228" y="6157301"/>
                  </a:lnTo>
                  <a:lnTo>
                    <a:pt x="2717898" y="6115486"/>
                  </a:lnTo>
                  <a:lnTo>
                    <a:pt x="2746164" y="6073559"/>
                  </a:lnTo>
                  <a:lnTo>
                    <a:pt x="2774029" y="6031526"/>
                  </a:lnTo>
                  <a:lnTo>
                    <a:pt x="2801496" y="5989387"/>
                  </a:lnTo>
                  <a:lnTo>
                    <a:pt x="2828566" y="5947148"/>
                  </a:lnTo>
                  <a:lnTo>
                    <a:pt x="2855243" y="5904810"/>
                  </a:lnTo>
                  <a:lnTo>
                    <a:pt x="2881529" y="5862378"/>
                  </a:lnTo>
                  <a:lnTo>
                    <a:pt x="2907426" y="5819854"/>
                  </a:lnTo>
                  <a:lnTo>
                    <a:pt x="2932937" y="5777241"/>
                  </a:lnTo>
                  <a:lnTo>
                    <a:pt x="2958064" y="5734543"/>
                  </a:lnTo>
                  <a:lnTo>
                    <a:pt x="2993639" y="5672929"/>
                  </a:lnTo>
                  <a:lnTo>
                    <a:pt x="3028437" y="5611159"/>
                  </a:lnTo>
                  <a:lnTo>
                    <a:pt x="3062467" y="5549243"/>
                  </a:lnTo>
                  <a:lnTo>
                    <a:pt x="3078918" y="5518560"/>
                  </a:lnTo>
                  <a:lnTo>
                    <a:pt x="3078918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9826081" y="4477445"/>
              <a:ext cx="1391285" cy="2381250"/>
            </a:xfrm>
            <a:custGeom>
              <a:avLst/>
              <a:gdLst/>
              <a:ahLst/>
              <a:cxnLst/>
              <a:rect l="l" t="t" r="r" b="b"/>
              <a:pathLst>
                <a:path w="1391284" h="2381250">
                  <a:moveTo>
                    <a:pt x="1306055" y="0"/>
                  </a:moveTo>
                  <a:lnTo>
                    <a:pt x="1285915" y="57692"/>
                  </a:lnTo>
                  <a:lnTo>
                    <a:pt x="1272754" y="93649"/>
                  </a:lnTo>
                  <a:lnTo>
                    <a:pt x="1256218" y="137638"/>
                  </a:lnTo>
                  <a:lnTo>
                    <a:pt x="1236265" y="189317"/>
                  </a:lnTo>
                  <a:lnTo>
                    <a:pt x="1212848" y="248346"/>
                  </a:lnTo>
                  <a:lnTo>
                    <a:pt x="1185923" y="314385"/>
                  </a:lnTo>
                  <a:lnTo>
                    <a:pt x="1171131" y="349926"/>
                  </a:lnTo>
                  <a:lnTo>
                    <a:pt x="1155445" y="387092"/>
                  </a:lnTo>
                  <a:lnTo>
                    <a:pt x="1138860" y="425840"/>
                  </a:lnTo>
                  <a:lnTo>
                    <a:pt x="1121371" y="466128"/>
                  </a:lnTo>
                  <a:lnTo>
                    <a:pt x="1102970" y="507912"/>
                  </a:lnTo>
                  <a:lnTo>
                    <a:pt x="1083654" y="551151"/>
                  </a:lnTo>
                  <a:lnTo>
                    <a:pt x="1063416" y="595802"/>
                  </a:lnTo>
                  <a:lnTo>
                    <a:pt x="1042251" y="641822"/>
                  </a:lnTo>
                  <a:lnTo>
                    <a:pt x="1020153" y="689168"/>
                  </a:lnTo>
                  <a:lnTo>
                    <a:pt x="997116" y="737799"/>
                  </a:lnTo>
                  <a:lnTo>
                    <a:pt x="973135" y="787671"/>
                  </a:lnTo>
                  <a:lnTo>
                    <a:pt x="948205" y="838742"/>
                  </a:lnTo>
                  <a:lnTo>
                    <a:pt x="922320" y="890970"/>
                  </a:lnTo>
                  <a:lnTo>
                    <a:pt x="895474" y="944312"/>
                  </a:lnTo>
                  <a:lnTo>
                    <a:pt x="867662" y="998724"/>
                  </a:lnTo>
                  <a:lnTo>
                    <a:pt x="838877" y="1054166"/>
                  </a:lnTo>
                  <a:lnTo>
                    <a:pt x="809115" y="1110594"/>
                  </a:lnTo>
                  <a:lnTo>
                    <a:pt x="778370" y="1167965"/>
                  </a:lnTo>
                  <a:lnTo>
                    <a:pt x="746637" y="1226237"/>
                  </a:lnTo>
                  <a:lnTo>
                    <a:pt x="713909" y="1285368"/>
                  </a:lnTo>
                  <a:lnTo>
                    <a:pt x="680181" y="1345314"/>
                  </a:lnTo>
                  <a:lnTo>
                    <a:pt x="645448" y="1406034"/>
                  </a:lnTo>
                  <a:lnTo>
                    <a:pt x="609704" y="1467485"/>
                  </a:lnTo>
                  <a:lnTo>
                    <a:pt x="572943" y="1529624"/>
                  </a:lnTo>
                  <a:lnTo>
                    <a:pt x="535160" y="1592408"/>
                  </a:lnTo>
                  <a:lnTo>
                    <a:pt x="496349" y="1655796"/>
                  </a:lnTo>
                  <a:lnTo>
                    <a:pt x="456505" y="1719744"/>
                  </a:lnTo>
                  <a:lnTo>
                    <a:pt x="415622" y="1784210"/>
                  </a:lnTo>
                  <a:lnTo>
                    <a:pt x="373694" y="1849151"/>
                  </a:lnTo>
                  <a:lnTo>
                    <a:pt x="330716" y="1914525"/>
                  </a:lnTo>
                  <a:lnTo>
                    <a:pt x="286683" y="1980289"/>
                  </a:lnTo>
                  <a:lnTo>
                    <a:pt x="241588" y="2046401"/>
                  </a:lnTo>
                  <a:lnTo>
                    <a:pt x="195427" y="2112818"/>
                  </a:lnTo>
                  <a:lnTo>
                    <a:pt x="148192" y="2179498"/>
                  </a:lnTo>
                  <a:lnTo>
                    <a:pt x="99880" y="2246397"/>
                  </a:lnTo>
                  <a:lnTo>
                    <a:pt x="50485" y="2313474"/>
                  </a:lnTo>
                  <a:lnTo>
                    <a:pt x="0" y="2380686"/>
                  </a:lnTo>
                  <a:lnTo>
                    <a:pt x="1335438" y="2380686"/>
                  </a:lnTo>
                  <a:lnTo>
                    <a:pt x="1357068" y="2199984"/>
                  </a:lnTo>
                  <a:lnTo>
                    <a:pt x="1390671" y="1700425"/>
                  </a:lnTo>
                  <a:lnTo>
                    <a:pt x="1389311" y="945825"/>
                  </a:lnTo>
                  <a:lnTo>
                    <a:pt x="1306055" y="0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9" name="object 9"/>
          <p:cNvGrpSpPr/>
          <p:nvPr/>
        </p:nvGrpSpPr>
        <p:grpSpPr>
          <a:xfrm>
            <a:off x="0" y="0"/>
            <a:ext cx="3203575" cy="6854190"/>
            <a:chOff x="0" y="0"/>
            <a:chExt cx="3203575" cy="6854190"/>
          </a:xfrm>
        </p:grpSpPr>
        <p:sp>
          <p:nvSpPr>
            <p:cNvPr id="10" name="object 10"/>
            <p:cNvSpPr/>
            <p:nvPr/>
          </p:nvSpPr>
          <p:spPr>
            <a:xfrm>
              <a:off x="0" y="8835"/>
              <a:ext cx="3203575" cy="6845300"/>
            </a:xfrm>
            <a:custGeom>
              <a:avLst/>
              <a:gdLst/>
              <a:ahLst/>
              <a:cxnLst/>
              <a:rect l="l" t="t" r="r" b="b"/>
              <a:pathLst>
                <a:path w="3203575" h="6845300">
                  <a:moveTo>
                    <a:pt x="0" y="1625599"/>
                  </a:moveTo>
                  <a:lnTo>
                    <a:pt x="0" y="1574799"/>
                  </a:lnTo>
                  <a:lnTo>
                    <a:pt x="13560" y="1536699"/>
                  </a:lnTo>
                  <a:lnTo>
                    <a:pt x="44579" y="1485899"/>
                  </a:lnTo>
                  <a:lnTo>
                    <a:pt x="76334" y="1422399"/>
                  </a:lnTo>
                  <a:lnTo>
                    <a:pt x="108833" y="1358899"/>
                  </a:lnTo>
                  <a:lnTo>
                    <a:pt x="142085" y="1295399"/>
                  </a:lnTo>
                  <a:lnTo>
                    <a:pt x="176098" y="1231899"/>
                  </a:lnTo>
                  <a:lnTo>
                    <a:pt x="210878" y="1168399"/>
                  </a:lnTo>
                  <a:lnTo>
                    <a:pt x="246434" y="1104899"/>
                  </a:lnTo>
                  <a:lnTo>
                    <a:pt x="271604" y="1066799"/>
                  </a:lnTo>
                  <a:lnTo>
                    <a:pt x="297151" y="1028699"/>
                  </a:lnTo>
                  <a:lnTo>
                    <a:pt x="323077" y="977899"/>
                  </a:lnTo>
                  <a:lnTo>
                    <a:pt x="349385" y="939799"/>
                  </a:lnTo>
                  <a:lnTo>
                    <a:pt x="376079" y="901699"/>
                  </a:lnTo>
                  <a:lnTo>
                    <a:pt x="403160" y="850899"/>
                  </a:lnTo>
                  <a:lnTo>
                    <a:pt x="430632" y="812799"/>
                  </a:lnTo>
                  <a:lnTo>
                    <a:pt x="458498" y="774699"/>
                  </a:lnTo>
                  <a:lnTo>
                    <a:pt x="486760" y="723899"/>
                  </a:lnTo>
                  <a:lnTo>
                    <a:pt x="515422" y="685799"/>
                  </a:lnTo>
                  <a:lnTo>
                    <a:pt x="544486" y="647699"/>
                  </a:lnTo>
                  <a:lnTo>
                    <a:pt x="573956" y="596899"/>
                  </a:lnTo>
                  <a:lnTo>
                    <a:pt x="603833" y="558799"/>
                  </a:lnTo>
                  <a:lnTo>
                    <a:pt x="634122" y="520699"/>
                  </a:lnTo>
                  <a:lnTo>
                    <a:pt x="664824" y="482599"/>
                  </a:lnTo>
                  <a:lnTo>
                    <a:pt x="695943" y="431799"/>
                  </a:lnTo>
                  <a:lnTo>
                    <a:pt x="727482" y="393699"/>
                  </a:lnTo>
                  <a:lnTo>
                    <a:pt x="759443" y="355599"/>
                  </a:lnTo>
                  <a:lnTo>
                    <a:pt x="791830" y="317499"/>
                  </a:lnTo>
                  <a:lnTo>
                    <a:pt x="824645" y="279399"/>
                  </a:lnTo>
                  <a:lnTo>
                    <a:pt x="857891" y="228599"/>
                  </a:lnTo>
                  <a:lnTo>
                    <a:pt x="891571" y="190499"/>
                  </a:lnTo>
                  <a:lnTo>
                    <a:pt x="925688" y="152399"/>
                  </a:lnTo>
                  <a:lnTo>
                    <a:pt x="960244" y="114299"/>
                  </a:lnTo>
                  <a:lnTo>
                    <a:pt x="995244" y="76199"/>
                  </a:lnTo>
                  <a:lnTo>
                    <a:pt x="1030688" y="38099"/>
                  </a:lnTo>
                  <a:lnTo>
                    <a:pt x="1067047" y="0"/>
                  </a:lnTo>
                  <a:lnTo>
                    <a:pt x="1067579" y="0"/>
                  </a:lnTo>
                  <a:lnTo>
                    <a:pt x="1065906" y="12699"/>
                  </a:lnTo>
                  <a:lnTo>
                    <a:pt x="1063267" y="25399"/>
                  </a:lnTo>
                  <a:lnTo>
                    <a:pt x="1059793" y="63499"/>
                  </a:lnTo>
                  <a:lnTo>
                    <a:pt x="1057704" y="76199"/>
                  </a:lnTo>
                  <a:lnTo>
                    <a:pt x="1030692" y="76199"/>
                  </a:lnTo>
                  <a:lnTo>
                    <a:pt x="1030646" y="76792"/>
                  </a:lnTo>
                  <a:lnTo>
                    <a:pt x="965649" y="152399"/>
                  </a:lnTo>
                  <a:lnTo>
                    <a:pt x="933300" y="190499"/>
                  </a:lnTo>
                  <a:lnTo>
                    <a:pt x="901224" y="228599"/>
                  </a:lnTo>
                  <a:lnTo>
                    <a:pt x="869422" y="266699"/>
                  </a:lnTo>
                  <a:lnTo>
                    <a:pt x="837899" y="304799"/>
                  </a:lnTo>
                  <a:lnTo>
                    <a:pt x="806655" y="342899"/>
                  </a:lnTo>
                  <a:lnTo>
                    <a:pt x="775694" y="380999"/>
                  </a:lnTo>
                  <a:lnTo>
                    <a:pt x="745017" y="419099"/>
                  </a:lnTo>
                  <a:lnTo>
                    <a:pt x="714628" y="457199"/>
                  </a:lnTo>
                  <a:lnTo>
                    <a:pt x="684527" y="495299"/>
                  </a:lnTo>
                  <a:lnTo>
                    <a:pt x="654719" y="533399"/>
                  </a:lnTo>
                  <a:lnTo>
                    <a:pt x="625205" y="571499"/>
                  </a:lnTo>
                  <a:lnTo>
                    <a:pt x="595987" y="622299"/>
                  </a:lnTo>
                  <a:lnTo>
                    <a:pt x="567069" y="660399"/>
                  </a:lnTo>
                  <a:lnTo>
                    <a:pt x="538451" y="698499"/>
                  </a:lnTo>
                  <a:lnTo>
                    <a:pt x="510137" y="736599"/>
                  </a:lnTo>
                  <a:lnTo>
                    <a:pt x="482129" y="787399"/>
                  </a:lnTo>
                  <a:lnTo>
                    <a:pt x="454429" y="825499"/>
                  </a:lnTo>
                  <a:lnTo>
                    <a:pt x="427040" y="863599"/>
                  </a:lnTo>
                  <a:lnTo>
                    <a:pt x="399965" y="901699"/>
                  </a:lnTo>
                  <a:lnTo>
                    <a:pt x="373204" y="952499"/>
                  </a:lnTo>
                  <a:lnTo>
                    <a:pt x="346761" y="990599"/>
                  </a:lnTo>
                  <a:lnTo>
                    <a:pt x="320639" y="1041399"/>
                  </a:lnTo>
                  <a:lnTo>
                    <a:pt x="294838" y="1079499"/>
                  </a:lnTo>
                  <a:lnTo>
                    <a:pt x="269363" y="1117599"/>
                  </a:lnTo>
                  <a:lnTo>
                    <a:pt x="234353" y="1181099"/>
                  </a:lnTo>
                  <a:lnTo>
                    <a:pt x="200097" y="1244599"/>
                  </a:lnTo>
                  <a:lnTo>
                    <a:pt x="166589" y="1308099"/>
                  </a:lnTo>
                  <a:lnTo>
                    <a:pt x="133820" y="1358899"/>
                  </a:lnTo>
                  <a:lnTo>
                    <a:pt x="101783" y="1422399"/>
                  </a:lnTo>
                  <a:lnTo>
                    <a:pt x="70470" y="1485899"/>
                  </a:lnTo>
                  <a:lnTo>
                    <a:pt x="39875" y="1549399"/>
                  </a:lnTo>
                  <a:lnTo>
                    <a:pt x="9989" y="1612899"/>
                  </a:lnTo>
                  <a:lnTo>
                    <a:pt x="0" y="1625599"/>
                  </a:lnTo>
                  <a:close/>
                </a:path>
                <a:path w="3203575" h="6845300">
                  <a:moveTo>
                    <a:pt x="1030646" y="76792"/>
                  </a:moveTo>
                  <a:lnTo>
                    <a:pt x="1030692" y="76199"/>
                  </a:lnTo>
                  <a:lnTo>
                    <a:pt x="1031157" y="76199"/>
                  </a:lnTo>
                  <a:lnTo>
                    <a:pt x="1030646" y="76792"/>
                  </a:lnTo>
                  <a:close/>
                </a:path>
                <a:path w="3203575" h="6845300">
                  <a:moveTo>
                    <a:pt x="3203469" y="6845300"/>
                  </a:moveTo>
                  <a:lnTo>
                    <a:pt x="0" y="6845299"/>
                  </a:lnTo>
                  <a:lnTo>
                    <a:pt x="0" y="6819899"/>
                  </a:lnTo>
                  <a:lnTo>
                    <a:pt x="3138602" y="6819900"/>
                  </a:lnTo>
                  <a:lnTo>
                    <a:pt x="3067800" y="6743700"/>
                  </a:lnTo>
                  <a:lnTo>
                    <a:pt x="3032809" y="6718300"/>
                  </a:lnTo>
                  <a:lnTo>
                    <a:pt x="2963650" y="6642100"/>
                  </a:lnTo>
                  <a:lnTo>
                    <a:pt x="2895593" y="6565900"/>
                  </a:lnTo>
                  <a:lnTo>
                    <a:pt x="2861979" y="6540500"/>
                  </a:lnTo>
                  <a:lnTo>
                    <a:pt x="2795584" y="6464300"/>
                  </a:lnTo>
                  <a:lnTo>
                    <a:pt x="2730304" y="6388100"/>
                  </a:lnTo>
                  <a:lnTo>
                    <a:pt x="2698083" y="6350000"/>
                  </a:lnTo>
                  <a:lnTo>
                    <a:pt x="2666144" y="6311900"/>
                  </a:lnTo>
                  <a:lnTo>
                    <a:pt x="2634486" y="6273800"/>
                  </a:lnTo>
                  <a:lnTo>
                    <a:pt x="2603109" y="6235700"/>
                  </a:lnTo>
                  <a:lnTo>
                    <a:pt x="2572016" y="6197600"/>
                  </a:lnTo>
                  <a:lnTo>
                    <a:pt x="2541206" y="6159500"/>
                  </a:lnTo>
                  <a:lnTo>
                    <a:pt x="2510680" y="6121400"/>
                  </a:lnTo>
                  <a:lnTo>
                    <a:pt x="2480439" y="6070600"/>
                  </a:lnTo>
                  <a:lnTo>
                    <a:pt x="2450483" y="6032500"/>
                  </a:lnTo>
                  <a:lnTo>
                    <a:pt x="2420814" y="5994400"/>
                  </a:lnTo>
                  <a:lnTo>
                    <a:pt x="2391431" y="5956300"/>
                  </a:lnTo>
                  <a:lnTo>
                    <a:pt x="2362335" y="5918200"/>
                  </a:lnTo>
                  <a:lnTo>
                    <a:pt x="2333528" y="5867400"/>
                  </a:lnTo>
                  <a:lnTo>
                    <a:pt x="2305009" y="5829300"/>
                  </a:lnTo>
                  <a:lnTo>
                    <a:pt x="2276780" y="5791200"/>
                  </a:lnTo>
                  <a:lnTo>
                    <a:pt x="2248841" y="5753100"/>
                  </a:lnTo>
                  <a:lnTo>
                    <a:pt x="2221193" y="5702300"/>
                  </a:lnTo>
                  <a:lnTo>
                    <a:pt x="2193836" y="5664200"/>
                  </a:lnTo>
                  <a:lnTo>
                    <a:pt x="2166771" y="5626100"/>
                  </a:lnTo>
                  <a:lnTo>
                    <a:pt x="2139999" y="5575300"/>
                  </a:lnTo>
                  <a:lnTo>
                    <a:pt x="2113520" y="5537200"/>
                  </a:lnTo>
                  <a:lnTo>
                    <a:pt x="2087335" y="5486400"/>
                  </a:lnTo>
                  <a:lnTo>
                    <a:pt x="2061446" y="5448300"/>
                  </a:lnTo>
                  <a:lnTo>
                    <a:pt x="2035851" y="5397500"/>
                  </a:lnTo>
                  <a:lnTo>
                    <a:pt x="2010553" y="5359400"/>
                  </a:lnTo>
                  <a:lnTo>
                    <a:pt x="1985552" y="5308600"/>
                  </a:lnTo>
                  <a:lnTo>
                    <a:pt x="1960848" y="5270500"/>
                  </a:lnTo>
                  <a:lnTo>
                    <a:pt x="1936442" y="5219700"/>
                  </a:lnTo>
                  <a:lnTo>
                    <a:pt x="1912334" y="5181600"/>
                  </a:lnTo>
                  <a:lnTo>
                    <a:pt x="1888527" y="5130800"/>
                  </a:lnTo>
                  <a:lnTo>
                    <a:pt x="1865019" y="5080000"/>
                  </a:lnTo>
                  <a:lnTo>
                    <a:pt x="1841812" y="5041900"/>
                  </a:lnTo>
                  <a:lnTo>
                    <a:pt x="1818907" y="4991100"/>
                  </a:lnTo>
                  <a:lnTo>
                    <a:pt x="1796304" y="4940300"/>
                  </a:lnTo>
                  <a:lnTo>
                    <a:pt x="1774003" y="4902200"/>
                  </a:lnTo>
                  <a:lnTo>
                    <a:pt x="1753712" y="4851400"/>
                  </a:lnTo>
                  <a:lnTo>
                    <a:pt x="1733670" y="4813300"/>
                  </a:lnTo>
                  <a:lnTo>
                    <a:pt x="1713878" y="4762500"/>
                  </a:lnTo>
                  <a:lnTo>
                    <a:pt x="1694337" y="4724400"/>
                  </a:lnTo>
                  <a:lnTo>
                    <a:pt x="1675048" y="4673600"/>
                  </a:lnTo>
                  <a:lnTo>
                    <a:pt x="1656010" y="4635500"/>
                  </a:lnTo>
                  <a:lnTo>
                    <a:pt x="1637225" y="4584700"/>
                  </a:lnTo>
                  <a:lnTo>
                    <a:pt x="1618693" y="4546600"/>
                  </a:lnTo>
                  <a:lnTo>
                    <a:pt x="1600415" y="4495800"/>
                  </a:lnTo>
                  <a:lnTo>
                    <a:pt x="1582391" y="4457700"/>
                  </a:lnTo>
                  <a:lnTo>
                    <a:pt x="1564621" y="4406900"/>
                  </a:lnTo>
                  <a:lnTo>
                    <a:pt x="1547107" y="4356100"/>
                  </a:lnTo>
                  <a:lnTo>
                    <a:pt x="1529849" y="4318000"/>
                  </a:lnTo>
                  <a:lnTo>
                    <a:pt x="1512847" y="4267200"/>
                  </a:lnTo>
                  <a:lnTo>
                    <a:pt x="1496103" y="4216400"/>
                  </a:lnTo>
                  <a:lnTo>
                    <a:pt x="1479616" y="4178300"/>
                  </a:lnTo>
                  <a:lnTo>
                    <a:pt x="1463387" y="4127500"/>
                  </a:lnTo>
                  <a:lnTo>
                    <a:pt x="1447416" y="4076700"/>
                  </a:lnTo>
                  <a:lnTo>
                    <a:pt x="1431706" y="4038600"/>
                  </a:lnTo>
                  <a:lnTo>
                    <a:pt x="1416255" y="3987800"/>
                  </a:lnTo>
                  <a:lnTo>
                    <a:pt x="1401064" y="3937000"/>
                  </a:lnTo>
                  <a:lnTo>
                    <a:pt x="1386134" y="3886200"/>
                  </a:lnTo>
                  <a:lnTo>
                    <a:pt x="1371466" y="3848100"/>
                  </a:lnTo>
                  <a:lnTo>
                    <a:pt x="1357060" y="3797300"/>
                  </a:lnTo>
                  <a:lnTo>
                    <a:pt x="1342917" y="3746500"/>
                  </a:lnTo>
                  <a:lnTo>
                    <a:pt x="1329037" y="3695700"/>
                  </a:lnTo>
                  <a:lnTo>
                    <a:pt x="1315421" y="3644900"/>
                  </a:lnTo>
                  <a:lnTo>
                    <a:pt x="1302070" y="3594100"/>
                  </a:lnTo>
                  <a:lnTo>
                    <a:pt x="1288983" y="3543300"/>
                  </a:lnTo>
                  <a:lnTo>
                    <a:pt x="1276162" y="3492500"/>
                  </a:lnTo>
                  <a:lnTo>
                    <a:pt x="1263607" y="3454400"/>
                  </a:lnTo>
                  <a:lnTo>
                    <a:pt x="1251318" y="3403600"/>
                  </a:lnTo>
                  <a:lnTo>
                    <a:pt x="1239297" y="3352800"/>
                  </a:lnTo>
                  <a:lnTo>
                    <a:pt x="1227544" y="3302000"/>
                  </a:lnTo>
                  <a:lnTo>
                    <a:pt x="1216059" y="3251200"/>
                  </a:lnTo>
                  <a:lnTo>
                    <a:pt x="1204843" y="3200400"/>
                  </a:lnTo>
                  <a:lnTo>
                    <a:pt x="1193896" y="3149600"/>
                  </a:lnTo>
                  <a:lnTo>
                    <a:pt x="1183219" y="3098800"/>
                  </a:lnTo>
                  <a:lnTo>
                    <a:pt x="1172814" y="3048000"/>
                  </a:lnTo>
                  <a:lnTo>
                    <a:pt x="1162679" y="2997200"/>
                  </a:lnTo>
                  <a:lnTo>
                    <a:pt x="1152816" y="2946400"/>
                  </a:lnTo>
                  <a:lnTo>
                    <a:pt x="1143225" y="2882900"/>
                  </a:lnTo>
                  <a:lnTo>
                    <a:pt x="1133908" y="2832100"/>
                  </a:lnTo>
                  <a:lnTo>
                    <a:pt x="1125437" y="2794000"/>
                  </a:lnTo>
                  <a:lnTo>
                    <a:pt x="1117205" y="2743200"/>
                  </a:lnTo>
                  <a:lnTo>
                    <a:pt x="1109213" y="2692400"/>
                  </a:lnTo>
                  <a:lnTo>
                    <a:pt x="1101460" y="2641600"/>
                  </a:lnTo>
                  <a:lnTo>
                    <a:pt x="1093947" y="2590799"/>
                  </a:lnTo>
                  <a:lnTo>
                    <a:pt x="1086673" y="2539999"/>
                  </a:lnTo>
                  <a:lnTo>
                    <a:pt x="1079639" y="2501899"/>
                  </a:lnTo>
                  <a:lnTo>
                    <a:pt x="1072845" y="2451099"/>
                  </a:lnTo>
                  <a:lnTo>
                    <a:pt x="1066291" y="2400299"/>
                  </a:lnTo>
                  <a:lnTo>
                    <a:pt x="1059976" y="2349499"/>
                  </a:lnTo>
                  <a:lnTo>
                    <a:pt x="1053902" y="2298699"/>
                  </a:lnTo>
                  <a:lnTo>
                    <a:pt x="1048068" y="2247899"/>
                  </a:lnTo>
                  <a:lnTo>
                    <a:pt x="1042474" y="2197099"/>
                  </a:lnTo>
                  <a:lnTo>
                    <a:pt x="1037120" y="2146299"/>
                  </a:lnTo>
                  <a:lnTo>
                    <a:pt x="1032006" y="2108199"/>
                  </a:lnTo>
                  <a:lnTo>
                    <a:pt x="1027133" y="2057399"/>
                  </a:lnTo>
                  <a:lnTo>
                    <a:pt x="1022500" y="2006599"/>
                  </a:lnTo>
                  <a:lnTo>
                    <a:pt x="1018108" y="1955799"/>
                  </a:lnTo>
                  <a:lnTo>
                    <a:pt x="1013957" y="1904999"/>
                  </a:lnTo>
                  <a:lnTo>
                    <a:pt x="1010046" y="1854199"/>
                  </a:lnTo>
                  <a:lnTo>
                    <a:pt x="1006376" y="1803399"/>
                  </a:lnTo>
                  <a:lnTo>
                    <a:pt x="1002946" y="1752599"/>
                  </a:lnTo>
                  <a:lnTo>
                    <a:pt x="999758" y="1701799"/>
                  </a:lnTo>
                  <a:lnTo>
                    <a:pt x="996810" y="1650999"/>
                  </a:lnTo>
                  <a:lnTo>
                    <a:pt x="994104" y="1600199"/>
                  </a:lnTo>
                  <a:lnTo>
                    <a:pt x="991639" y="1549399"/>
                  </a:lnTo>
                  <a:lnTo>
                    <a:pt x="989415" y="1498599"/>
                  </a:lnTo>
                  <a:lnTo>
                    <a:pt x="987432" y="1447799"/>
                  </a:lnTo>
                  <a:lnTo>
                    <a:pt x="985690" y="1396999"/>
                  </a:lnTo>
                  <a:lnTo>
                    <a:pt x="984190" y="1346199"/>
                  </a:lnTo>
                  <a:lnTo>
                    <a:pt x="982932" y="1295399"/>
                  </a:lnTo>
                  <a:lnTo>
                    <a:pt x="981915" y="1244599"/>
                  </a:lnTo>
                  <a:lnTo>
                    <a:pt x="981139" y="1193799"/>
                  </a:lnTo>
                  <a:lnTo>
                    <a:pt x="980606" y="1142999"/>
                  </a:lnTo>
                  <a:lnTo>
                    <a:pt x="980387" y="1104899"/>
                  </a:lnTo>
                  <a:lnTo>
                    <a:pt x="980263" y="1028699"/>
                  </a:lnTo>
                  <a:lnTo>
                    <a:pt x="980686" y="952499"/>
                  </a:lnTo>
                  <a:lnTo>
                    <a:pt x="981547" y="888999"/>
                  </a:lnTo>
                  <a:lnTo>
                    <a:pt x="982810" y="825499"/>
                  </a:lnTo>
                  <a:lnTo>
                    <a:pt x="984442" y="761999"/>
                  </a:lnTo>
                  <a:lnTo>
                    <a:pt x="986406" y="698499"/>
                  </a:lnTo>
                  <a:lnTo>
                    <a:pt x="988668" y="634999"/>
                  </a:lnTo>
                  <a:lnTo>
                    <a:pt x="991193" y="584199"/>
                  </a:lnTo>
                  <a:lnTo>
                    <a:pt x="993944" y="533399"/>
                  </a:lnTo>
                  <a:lnTo>
                    <a:pt x="996888" y="482599"/>
                  </a:lnTo>
                  <a:lnTo>
                    <a:pt x="999989" y="431799"/>
                  </a:lnTo>
                  <a:lnTo>
                    <a:pt x="1003212" y="380999"/>
                  </a:lnTo>
                  <a:lnTo>
                    <a:pt x="1006521" y="330199"/>
                  </a:lnTo>
                  <a:lnTo>
                    <a:pt x="1016618" y="215899"/>
                  </a:lnTo>
                  <a:lnTo>
                    <a:pt x="1019923" y="177799"/>
                  </a:lnTo>
                  <a:lnTo>
                    <a:pt x="1023139" y="152399"/>
                  </a:lnTo>
                  <a:lnTo>
                    <a:pt x="1026231" y="114299"/>
                  </a:lnTo>
                  <a:lnTo>
                    <a:pt x="1029164" y="88899"/>
                  </a:lnTo>
                  <a:lnTo>
                    <a:pt x="1029695" y="88899"/>
                  </a:lnTo>
                  <a:lnTo>
                    <a:pt x="1030646" y="76792"/>
                  </a:lnTo>
                  <a:lnTo>
                    <a:pt x="1031157" y="76199"/>
                  </a:lnTo>
                  <a:lnTo>
                    <a:pt x="1057704" y="76199"/>
                  </a:lnTo>
                  <a:lnTo>
                    <a:pt x="1055615" y="88899"/>
                  </a:lnTo>
                  <a:lnTo>
                    <a:pt x="1054161" y="101599"/>
                  </a:lnTo>
                  <a:lnTo>
                    <a:pt x="1052658" y="126999"/>
                  </a:lnTo>
                  <a:lnTo>
                    <a:pt x="1051110" y="139699"/>
                  </a:lnTo>
                  <a:lnTo>
                    <a:pt x="1049522" y="152399"/>
                  </a:lnTo>
                  <a:lnTo>
                    <a:pt x="1047899" y="165099"/>
                  </a:lnTo>
                  <a:lnTo>
                    <a:pt x="1046246" y="190499"/>
                  </a:lnTo>
                  <a:lnTo>
                    <a:pt x="1042871" y="215899"/>
                  </a:lnTo>
                  <a:lnTo>
                    <a:pt x="1041158" y="241299"/>
                  </a:lnTo>
                  <a:lnTo>
                    <a:pt x="1039434" y="253999"/>
                  </a:lnTo>
                  <a:lnTo>
                    <a:pt x="1035975" y="304799"/>
                  </a:lnTo>
                  <a:lnTo>
                    <a:pt x="1034249" y="317499"/>
                  </a:lnTo>
                  <a:lnTo>
                    <a:pt x="1030830" y="368299"/>
                  </a:lnTo>
                  <a:lnTo>
                    <a:pt x="1027485" y="419099"/>
                  </a:lnTo>
                  <a:lnTo>
                    <a:pt x="1024255" y="469899"/>
                  </a:lnTo>
                  <a:lnTo>
                    <a:pt x="1021178" y="520699"/>
                  </a:lnTo>
                  <a:lnTo>
                    <a:pt x="1018292" y="571499"/>
                  </a:lnTo>
                  <a:lnTo>
                    <a:pt x="1016934" y="609599"/>
                  </a:lnTo>
                  <a:lnTo>
                    <a:pt x="1015638" y="634999"/>
                  </a:lnTo>
                  <a:lnTo>
                    <a:pt x="1014410" y="660399"/>
                  </a:lnTo>
                  <a:lnTo>
                    <a:pt x="1013253" y="698499"/>
                  </a:lnTo>
                  <a:lnTo>
                    <a:pt x="1012175" y="723899"/>
                  </a:lnTo>
                  <a:lnTo>
                    <a:pt x="1011178" y="761999"/>
                  </a:lnTo>
                  <a:lnTo>
                    <a:pt x="1010268" y="787399"/>
                  </a:lnTo>
                  <a:lnTo>
                    <a:pt x="1009450" y="825499"/>
                  </a:lnTo>
                  <a:lnTo>
                    <a:pt x="1008110" y="888999"/>
                  </a:lnTo>
                  <a:lnTo>
                    <a:pt x="1007597" y="927099"/>
                  </a:lnTo>
                  <a:lnTo>
                    <a:pt x="1006909" y="990599"/>
                  </a:lnTo>
                  <a:lnTo>
                    <a:pt x="1006745" y="1028699"/>
                  </a:lnTo>
                  <a:lnTo>
                    <a:pt x="1006798" y="1104899"/>
                  </a:lnTo>
                  <a:lnTo>
                    <a:pt x="1007026" y="1142999"/>
                  </a:lnTo>
                  <a:lnTo>
                    <a:pt x="1007395" y="1181099"/>
                  </a:lnTo>
                  <a:lnTo>
                    <a:pt x="1007909" y="1219199"/>
                  </a:lnTo>
                  <a:lnTo>
                    <a:pt x="1008573" y="1257299"/>
                  </a:lnTo>
                  <a:lnTo>
                    <a:pt x="1009392" y="1295399"/>
                  </a:lnTo>
                  <a:lnTo>
                    <a:pt x="1010372" y="1333499"/>
                  </a:lnTo>
                  <a:lnTo>
                    <a:pt x="1011516" y="1371599"/>
                  </a:lnTo>
                  <a:lnTo>
                    <a:pt x="1012830" y="1422399"/>
                  </a:lnTo>
                  <a:lnTo>
                    <a:pt x="1014319" y="1460499"/>
                  </a:lnTo>
                  <a:lnTo>
                    <a:pt x="1015987" y="1498599"/>
                  </a:lnTo>
                  <a:lnTo>
                    <a:pt x="1017840" y="1536699"/>
                  </a:lnTo>
                  <a:lnTo>
                    <a:pt x="1019882" y="1587499"/>
                  </a:lnTo>
                  <a:lnTo>
                    <a:pt x="1022118" y="1625599"/>
                  </a:lnTo>
                  <a:lnTo>
                    <a:pt x="1024553" y="1676399"/>
                  </a:lnTo>
                  <a:lnTo>
                    <a:pt x="1027192" y="1714499"/>
                  </a:lnTo>
                  <a:lnTo>
                    <a:pt x="1030040" y="1752599"/>
                  </a:lnTo>
                  <a:lnTo>
                    <a:pt x="1033101" y="1803399"/>
                  </a:lnTo>
                  <a:lnTo>
                    <a:pt x="1036381" y="1841499"/>
                  </a:lnTo>
                  <a:lnTo>
                    <a:pt x="1039884" y="1892299"/>
                  </a:lnTo>
                  <a:lnTo>
                    <a:pt x="1043616" y="1943099"/>
                  </a:lnTo>
                  <a:lnTo>
                    <a:pt x="1047580" y="1981199"/>
                  </a:lnTo>
                  <a:lnTo>
                    <a:pt x="1051783" y="2031999"/>
                  </a:lnTo>
                  <a:lnTo>
                    <a:pt x="1056228" y="2070099"/>
                  </a:lnTo>
                  <a:lnTo>
                    <a:pt x="1060921" y="2120899"/>
                  </a:lnTo>
                  <a:lnTo>
                    <a:pt x="1065867" y="2171699"/>
                  </a:lnTo>
                  <a:lnTo>
                    <a:pt x="1071070" y="2222499"/>
                  </a:lnTo>
                  <a:lnTo>
                    <a:pt x="1076535" y="2260599"/>
                  </a:lnTo>
                  <a:lnTo>
                    <a:pt x="1082268" y="2311399"/>
                  </a:lnTo>
                  <a:lnTo>
                    <a:pt x="1088273" y="2362199"/>
                  </a:lnTo>
                  <a:lnTo>
                    <a:pt x="1094555" y="2412999"/>
                  </a:lnTo>
                  <a:lnTo>
                    <a:pt x="1101118" y="2463800"/>
                  </a:lnTo>
                  <a:lnTo>
                    <a:pt x="1107969" y="2501900"/>
                  </a:lnTo>
                  <a:lnTo>
                    <a:pt x="1115110" y="2552700"/>
                  </a:lnTo>
                  <a:lnTo>
                    <a:pt x="1122549" y="2603500"/>
                  </a:lnTo>
                  <a:lnTo>
                    <a:pt x="1130288" y="2654300"/>
                  </a:lnTo>
                  <a:lnTo>
                    <a:pt x="1138334" y="2705100"/>
                  </a:lnTo>
                  <a:lnTo>
                    <a:pt x="1146691" y="2755900"/>
                  </a:lnTo>
                  <a:lnTo>
                    <a:pt x="1155363" y="2806700"/>
                  </a:lnTo>
                  <a:lnTo>
                    <a:pt x="1164357" y="2857500"/>
                  </a:lnTo>
                  <a:lnTo>
                    <a:pt x="1173676" y="2908300"/>
                  </a:lnTo>
                  <a:lnTo>
                    <a:pt x="1183326" y="2959100"/>
                  </a:lnTo>
                  <a:lnTo>
                    <a:pt x="1193311" y="3009900"/>
                  </a:lnTo>
                  <a:lnTo>
                    <a:pt x="1203636" y="3060700"/>
                  </a:lnTo>
                  <a:lnTo>
                    <a:pt x="1214306" y="3111500"/>
                  </a:lnTo>
                  <a:lnTo>
                    <a:pt x="1225327" y="3162300"/>
                  </a:lnTo>
                  <a:lnTo>
                    <a:pt x="1236702" y="3213100"/>
                  </a:lnTo>
                  <a:lnTo>
                    <a:pt x="1248438" y="3276600"/>
                  </a:lnTo>
                  <a:lnTo>
                    <a:pt x="1260537" y="3327400"/>
                  </a:lnTo>
                  <a:lnTo>
                    <a:pt x="1273007" y="3378200"/>
                  </a:lnTo>
                  <a:lnTo>
                    <a:pt x="1285850" y="3429000"/>
                  </a:lnTo>
                  <a:lnTo>
                    <a:pt x="1299073" y="3479800"/>
                  </a:lnTo>
                  <a:lnTo>
                    <a:pt x="1312680" y="3530600"/>
                  </a:lnTo>
                  <a:lnTo>
                    <a:pt x="1326676" y="3581400"/>
                  </a:lnTo>
                  <a:lnTo>
                    <a:pt x="1341066" y="3644900"/>
                  </a:lnTo>
                  <a:lnTo>
                    <a:pt x="1355855" y="3695700"/>
                  </a:lnTo>
                  <a:lnTo>
                    <a:pt x="1371047" y="3746500"/>
                  </a:lnTo>
                  <a:lnTo>
                    <a:pt x="1386648" y="3797300"/>
                  </a:lnTo>
                  <a:lnTo>
                    <a:pt x="1402662" y="3848100"/>
                  </a:lnTo>
                  <a:lnTo>
                    <a:pt x="1419094" y="3911600"/>
                  </a:lnTo>
                  <a:lnTo>
                    <a:pt x="1435949" y="3962400"/>
                  </a:lnTo>
                  <a:lnTo>
                    <a:pt x="1453232" y="4013200"/>
                  </a:lnTo>
                  <a:lnTo>
                    <a:pt x="1470948" y="4064000"/>
                  </a:lnTo>
                  <a:lnTo>
                    <a:pt x="1489102" y="4127500"/>
                  </a:lnTo>
                  <a:lnTo>
                    <a:pt x="1507699" y="4178300"/>
                  </a:lnTo>
                  <a:lnTo>
                    <a:pt x="1526742" y="4229100"/>
                  </a:lnTo>
                  <a:lnTo>
                    <a:pt x="1546239" y="4279900"/>
                  </a:lnTo>
                  <a:lnTo>
                    <a:pt x="1566192" y="4343400"/>
                  </a:lnTo>
                  <a:lnTo>
                    <a:pt x="1586607" y="4394200"/>
                  </a:lnTo>
                  <a:lnTo>
                    <a:pt x="1607489" y="4445000"/>
                  </a:lnTo>
                  <a:lnTo>
                    <a:pt x="1628844" y="4495800"/>
                  </a:lnTo>
                  <a:lnTo>
                    <a:pt x="1650674" y="4546600"/>
                  </a:lnTo>
                  <a:lnTo>
                    <a:pt x="1672987" y="4610100"/>
                  </a:lnTo>
                  <a:lnTo>
                    <a:pt x="1695785" y="4660900"/>
                  </a:lnTo>
                  <a:lnTo>
                    <a:pt x="1719075" y="4711700"/>
                  </a:lnTo>
                  <a:lnTo>
                    <a:pt x="1742861" y="4762500"/>
                  </a:lnTo>
                  <a:lnTo>
                    <a:pt x="1767149" y="4826000"/>
                  </a:lnTo>
                  <a:lnTo>
                    <a:pt x="1791942" y="4876800"/>
                  </a:lnTo>
                  <a:lnTo>
                    <a:pt x="1817245" y="4927600"/>
                  </a:lnTo>
                  <a:lnTo>
                    <a:pt x="1843065" y="4978400"/>
                  </a:lnTo>
                  <a:lnTo>
                    <a:pt x="1869405" y="5029200"/>
                  </a:lnTo>
                  <a:lnTo>
                    <a:pt x="1896270" y="5092700"/>
                  </a:lnTo>
                  <a:lnTo>
                    <a:pt x="1923666" y="5143500"/>
                  </a:lnTo>
                  <a:lnTo>
                    <a:pt x="1951596" y="5194300"/>
                  </a:lnTo>
                  <a:lnTo>
                    <a:pt x="1980067" y="5245100"/>
                  </a:lnTo>
                  <a:lnTo>
                    <a:pt x="2009083" y="5295900"/>
                  </a:lnTo>
                  <a:lnTo>
                    <a:pt x="2038648" y="5359400"/>
                  </a:lnTo>
                  <a:lnTo>
                    <a:pt x="2068768" y="5410200"/>
                  </a:lnTo>
                  <a:lnTo>
                    <a:pt x="2099447" y="5461000"/>
                  </a:lnTo>
                  <a:lnTo>
                    <a:pt x="2130691" y="5511800"/>
                  </a:lnTo>
                  <a:lnTo>
                    <a:pt x="2162504" y="5562600"/>
                  </a:lnTo>
                  <a:lnTo>
                    <a:pt x="2194891" y="5613400"/>
                  </a:lnTo>
                  <a:lnTo>
                    <a:pt x="2227857" y="5664200"/>
                  </a:lnTo>
                  <a:lnTo>
                    <a:pt x="2261407" y="5715000"/>
                  </a:lnTo>
                  <a:lnTo>
                    <a:pt x="2295546" y="5765800"/>
                  </a:lnTo>
                  <a:lnTo>
                    <a:pt x="2330278" y="5816600"/>
                  </a:lnTo>
                  <a:lnTo>
                    <a:pt x="2365608" y="5867400"/>
                  </a:lnTo>
                  <a:lnTo>
                    <a:pt x="2401542" y="5918200"/>
                  </a:lnTo>
                  <a:lnTo>
                    <a:pt x="2438084" y="5969000"/>
                  </a:lnTo>
                  <a:lnTo>
                    <a:pt x="2475239" y="6019800"/>
                  </a:lnTo>
                  <a:lnTo>
                    <a:pt x="2513013" y="6070600"/>
                  </a:lnTo>
                  <a:lnTo>
                    <a:pt x="2551408" y="6121400"/>
                  </a:lnTo>
                  <a:lnTo>
                    <a:pt x="2590432" y="6172200"/>
                  </a:lnTo>
                  <a:lnTo>
                    <a:pt x="2630088" y="6223000"/>
                  </a:lnTo>
                  <a:lnTo>
                    <a:pt x="2670382" y="6273800"/>
                  </a:lnTo>
                  <a:lnTo>
                    <a:pt x="2711318" y="6324600"/>
                  </a:lnTo>
                  <a:lnTo>
                    <a:pt x="2752900" y="6375400"/>
                  </a:lnTo>
                  <a:lnTo>
                    <a:pt x="2795136" y="6426200"/>
                  </a:lnTo>
                  <a:lnTo>
                    <a:pt x="2838027" y="6464300"/>
                  </a:lnTo>
                  <a:lnTo>
                    <a:pt x="2881581" y="6515100"/>
                  </a:lnTo>
                  <a:lnTo>
                    <a:pt x="2925801" y="6565900"/>
                  </a:lnTo>
                  <a:lnTo>
                    <a:pt x="2970693" y="6616700"/>
                  </a:lnTo>
                  <a:lnTo>
                    <a:pt x="3016262" y="6654800"/>
                  </a:lnTo>
                  <a:lnTo>
                    <a:pt x="3062511" y="6705600"/>
                  </a:lnTo>
                  <a:lnTo>
                    <a:pt x="3109447" y="6756400"/>
                  </a:lnTo>
                  <a:lnTo>
                    <a:pt x="3157073" y="6794500"/>
                  </a:lnTo>
                  <a:lnTo>
                    <a:pt x="3203469" y="68453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1100619" y="0"/>
              <a:ext cx="1390650" cy="2380615"/>
            </a:xfrm>
            <a:custGeom>
              <a:avLst/>
              <a:gdLst/>
              <a:ahLst/>
              <a:cxnLst/>
              <a:rect l="l" t="t" r="r" b="b"/>
              <a:pathLst>
                <a:path w="1390650" h="2380615">
                  <a:moveTo>
                    <a:pt x="84597" y="2380552"/>
                  </a:moveTo>
                  <a:lnTo>
                    <a:pt x="1359" y="1434726"/>
                  </a:lnTo>
                  <a:lnTo>
                    <a:pt x="0" y="680126"/>
                  </a:lnTo>
                  <a:lnTo>
                    <a:pt x="33595" y="180567"/>
                  </a:lnTo>
                  <a:lnTo>
                    <a:pt x="55205" y="0"/>
                  </a:lnTo>
                  <a:lnTo>
                    <a:pt x="1390276" y="0"/>
                  </a:lnTo>
                  <a:lnTo>
                    <a:pt x="1370171" y="26772"/>
                  </a:lnTo>
                  <a:lnTo>
                    <a:pt x="78151" y="26771"/>
                  </a:lnTo>
                  <a:lnTo>
                    <a:pt x="75629" y="46118"/>
                  </a:lnTo>
                  <a:lnTo>
                    <a:pt x="68905" y="101801"/>
                  </a:lnTo>
                  <a:lnTo>
                    <a:pt x="60583" y="179175"/>
                  </a:lnTo>
                  <a:lnTo>
                    <a:pt x="56065" y="225635"/>
                  </a:lnTo>
                  <a:lnTo>
                    <a:pt x="51437" y="277085"/>
                  </a:lnTo>
                  <a:lnTo>
                    <a:pt x="46739" y="334150"/>
                  </a:lnTo>
                  <a:lnTo>
                    <a:pt x="42239" y="394378"/>
                  </a:lnTo>
                  <a:lnTo>
                    <a:pt x="37862" y="459933"/>
                  </a:lnTo>
                  <a:lnTo>
                    <a:pt x="33686" y="531401"/>
                  </a:lnTo>
                  <a:lnTo>
                    <a:pt x="30033" y="604138"/>
                  </a:lnTo>
                  <a:lnTo>
                    <a:pt x="26775" y="682501"/>
                  </a:lnTo>
                  <a:lnTo>
                    <a:pt x="24290" y="755830"/>
                  </a:lnTo>
                  <a:lnTo>
                    <a:pt x="23208" y="795209"/>
                  </a:lnTo>
                  <a:lnTo>
                    <a:pt x="22306" y="833950"/>
                  </a:lnTo>
                  <a:lnTo>
                    <a:pt x="21535" y="874751"/>
                  </a:lnTo>
                  <a:lnTo>
                    <a:pt x="20927" y="916683"/>
                  </a:lnTo>
                  <a:lnTo>
                    <a:pt x="20495" y="959724"/>
                  </a:lnTo>
                  <a:lnTo>
                    <a:pt x="20253" y="1003852"/>
                  </a:lnTo>
                  <a:lnTo>
                    <a:pt x="20257" y="1060460"/>
                  </a:lnTo>
                  <a:lnTo>
                    <a:pt x="20823" y="1144710"/>
                  </a:lnTo>
                  <a:lnTo>
                    <a:pt x="21439" y="1190791"/>
                  </a:lnTo>
                  <a:lnTo>
                    <a:pt x="22337" y="1240023"/>
                  </a:lnTo>
                  <a:lnTo>
                    <a:pt x="23502" y="1290208"/>
                  </a:lnTo>
                  <a:lnTo>
                    <a:pt x="24947" y="1341326"/>
                  </a:lnTo>
                  <a:lnTo>
                    <a:pt x="26684" y="1393354"/>
                  </a:lnTo>
                  <a:lnTo>
                    <a:pt x="28727" y="1446270"/>
                  </a:lnTo>
                  <a:lnTo>
                    <a:pt x="31087" y="1500052"/>
                  </a:lnTo>
                  <a:lnTo>
                    <a:pt x="33778" y="1554678"/>
                  </a:lnTo>
                  <a:lnTo>
                    <a:pt x="36813" y="1610125"/>
                  </a:lnTo>
                  <a:lnTo>
                    <a:pt x="40205" y="1666373"/>
                  </a:lnTo>
                  <a:lnTo>
                    <a:pt x="43966" y="1723398"/>
                  </a:lnTo>
                  <a:lnTo>
                    <a:pt x="48109" y="1781178"/>
                  </a:lnTo>
                  <a:lnTo>
                    <a:pt x="52648" y="1839691"/>
                  </a:lnTo>
                  <a:lnTo>
                    <a:pt x="57594" y="1898916"/>
                  </a:lnTo>
                  <a:lnTo>
                    <a:pt x="62961" y="1958830"/>
                  </a:lnTo>
                  <a:lnTo>
                    <a:pt x="68763" y="2019411"/>
                  </a:lnTo>
                  <a:lnTo>
                    <a:pt x="75010" y="2080637"/>
                  </a:lnTo>
                  <a:lnTo>
                    <a:pt x="81717" y="2142486"/>
                  </a:lnTo>
                  <a:lnTo>
                    <a:pt x="88896" y="2204936"/>
                  </a:lnTo>
                  <a:lnTo>
                    <a:pt x="96561" y="2267964"/>
                  </a:lnTo>
                  <a:lnTo>
                    <a:pt x="125155" y="2267964"/>
                  </a:lnTo>
                  <a:lnTo>
                    <a:pt x="118077" y="2286902"/>
                  </a:lnTo>
                  <a:lnTo>
                    <a:pt x="104890" y="2322860"/>
                  </a:lnTo>
                  <a:lnTo>
                    <a:pt x="91324" y="2360994"/>
                  </a:lnTo>
                  <a:lnTo>
                    <a:pt x="86356" y="2375384"/>
                  </a:lnTo>
                  <a:lnTo>
                    <a:pt x="84597" y="2380552"/>
                  </a:lnTo>
                  <a:close/>
                </a:path>
                <a:path w="1390650" h="2380615">
                  <a:moveTo>
                    <a:pt x="125155" y="2267964"/>
                  </a:moveTo>
                  <a:lnTo>
                    <a:pt x="96561" y="2267964"/>
                  </a:lnTo>
                  <a:lnTo>
                    <a:pt x="107174" y="2239819"/>
                  </a:lnTo>
                  <a:lnTo>
                    <a:pt x="119141" y="2208617"/>
                  </a:lnTo>
                  <a:lnTo>
                    <a:pt x="147170" y="2137384"/>
                  </a:lnTo>
                  <a:lnTo>
                    <a:pt x="163252" y="2097523"/>
                  </a:lnTo>
                  <a:lnTo>
                    <a:pt x="180726" y="2054944"/>
                  </a:lnTo>
                  <a:lnTo>
                    <a:pt x="199602" y="2009734"/>
                  </a:lnTo>
                  <a:lnTo>
                    <a:pt x="219888" y="1961977"/>
                  </a:lnTo>
                  <a:lnTo>
                    <a:pt x="241594" y="1911759"/>
                  </a:lnTo>
                  <a:lnTo>
                    <a:pt x="264732" y="1859163"/>
                  </a:lnTo>
                  <a:lnTo>
                    <a:pt x="289309" y="1804275"/>
                  </a:lnTo>
                  <a:lnTo>
                    <a:pt x="315336" y="1747181"/>
                  </a:lnTo>
                  <a:lnTo>
                    <a:pt x="342823" y="1687965"/>
                  </a:lnTo>
                  <a:lnTo>
                    <a:pt x="371780" y="1626711"/>
                  </a:lnTo>
                  <a:lnTo>
                    <a:pt x="403495" y="1560996"/>
                  </a:lnTo>
                  <a:lnTo>
                    <a:pt x="437514" y="1491951"/>
                  </a:lnTo>
                  <a:lnTo>
                    <a:pt x="455390" y="1456235"/>
                  </a:lnTo>
                  <a:lnTo>
                    <a:pt x="473843" y="1419751"/>
                  </a:lnTo>
                  <a:lnTo>
                    <a:pt x="492876" y="1382522"/>
                  </a:lnTo>
                  <a:lnTo>
                    <a:pt x="512489" y="1344569"/>
                  </a:lnTo>
                  <a:lnTo>
                    <a:pt x="532682" y="1305914"/>
                  </a:lnTo>
                  <a:lnTo>
                    <a:pt x="553457" y="1266579"/>
                  </a:lnTo>
                  <a:lnTo>
                    <a:pt x="574814" y="1226586"/>
                  </a:lnTo>
                  <a:lnTo>
                    <a:pt x="596754" y="1185955"/>
                  </a:lnTo>
                  <a:lnTo>
                    <a:pt x="619278" y="1144710"/>
                  </a:lnTo>
                  <a:lnTo>
                    <a:pt x="642387" y="1102871"/>
                  </a:lnTo>
                  <a:lnTo>
                    <a:pt x="666080" y="1060460"/>
                  </a:lnTo>
                  <a:lnTo>
                    <a:pt x="690360" y="1017500"/>
                  </a:lnTo>
                  <a:lnTo>
                    <a:pt x="715227" y="974011"/>
                  </a:lnTo>
                  <a:lnTo>
                    <a:pt x="740681" y="930016"/>
                  </a:lnTo>
                  <a:lnTo>
                    <a:pt x="766724" y="885536"/>
                  </a:lnTo>
                  <a:lnTo>
                    <a:pt x="793356" y="840594"/>
                  </a:lnTo>
                  <a:lnTo>
                    <a:pt x="820578" y="795209"/>
                  </a:lnTo>
                  <a:lnTo>
                    <a:pt x="848391" y="749406"/>
                  </a:lnTo>
                  <a:lnTo>
                    <a:pt x="876795" y="703204"/>
                  </a:lnTo>
                  <a:lnTo>
                    <a:pt x="905792" y="656626"/>
                  </a:lnTo>
                  <a:lnTo>
                    <a:pt x="935382" y="609694"/>
                  </a:lnTo>
                  <a:lnTo>
                    <a:pt x="965566" y="562429"/>
                  </a:lnTo>
                  <a:lnTo>
                    <a:pt x="996344" y="514854"/>
                  </a:lnTo>
                  <a:lnTo>
                    <a:pt x="1027718" y="466988"/>
                  </a:lnTo>
                  <a:lnTo>
                    <a:pt x="1059688" y="418856"/>
                  </a:lnTo>
                  <a:lnTo>
                    <a:pt x="1092255" y="370478"/>
                  </a:lnTo>
                  <a:lnTo>
                    <a:pt x="1125420" y="321875"/>
                  </a:lnTo>
                  <a:lnTo>
                    <a:pt x="1159184" y="273070"/>
                  </a:lnTo>
                  <a:lnTo>
                    <a:pt x="1193547" y="224085"/>
                  </a:lnTo>
                  <a:lnTo>
                    <a:pt x="1228510" y="174941"/>
                  </a:lnTo>
                  <a:lnTo>
                    <a:pt x="1264074" y="125659"/>
                  </a:lnTo>
                  <a:lnTo>
                    <a:pt x="1300239" y="76262"/>
                  </a:lnTo>
                  <a:lnTo>
                    <a:pt x="1337008" y="26772"/>
                  </a:lnTo>
                  <a:lnTo>
                    <a:pt x="1370171" y="26772"/>
                  </a:lnTo>
                  <a:lnTo>
                    <a:pt x="1339903" y="67078"/>
                  </a:lnTo>
                  <a:lnTo>
                    <a:pt x="1290519" y="134155"/>
                  </a:lnTo>
                  <a:lnTo>
                    <a:pt x="1242220" y="201054"/>
                  </a:lnTo>
                  <a:lnTo>
                    <a:pt x="1194999" y="267734"/>
                  </a:lnTo>
                  <a:lnTo>
                    <a:pt x="1148851" y="334151"/>
                  </a:lnTo>
                  <a:lnTo>
                    <a:pt x="1103771" y="400262"/>
                  </a:lnTo>
                  <a:lnTo>
                    <a:pt x="1059753" y="466027"/>
                  </a:lnTo>
                  <a:lnTo>
                    <a:pt x="1016791" y="531401"/>
                  </a:lnTo>
                  <a:lnTo>
                    <a:pt x="974879" y="596342"/>
                  </a:lnTo>
                  <a:lnTo>
                    <a:pt x="934012" y="660808"/>
                  </a:lnTo>
                  <a:lnTo>
                    <a:pt x="894185" y="724756"/>
                  </a:lnTo>
                  <a:lnTo>
                    <a:pt x="855391" y="788143"/>
                  </a:lnTo>
                  <a:lnTo>
                    <a:pt x="817625" y="850928"/>
                  </a:lnTo>
                  <a:lnTo>
                    <a:pt x="780881" y="913067"/>
                  </a:lnTo>
                  <a:lnTo>
                    <a:pt x="745154" y="974517"/>
                  </a:lnTo>
                  <a:lnTo>
                    <a:pt x="710437" y="1035237"/>
                  </a:lnTo>
                  <a:lnTo>
                    <a:pt x="676673" y="1095280"/>
                  </a:lnTo>
                  <a:lnTo>
                    <a:pt x="644016" y="1154314"/>
                  </a:lnTo>
                  <a:lnTo>
                    <a:pt x="612298" y="1212587"/>
                  </a:lnTo>
                  <a:lnTo>
                    <a:pt x="581570" y="1269958"/>
                  </a:lnTo>
                  <a:lnTo>
                    <a:pt x="551824" y="1326386"/>
                  </a:lnTo>
                  <a:lnTo>
                    <a:pt x="523055" y="1381827"/>
                  </a:lnTo>
                  <a:lnTo>
                    <a:pt x="495258" y="1436240"/>
                  </a:lnTo>
                  <a:lnTo>
                    <a:pt x="468426" y="1489581"/>
                  </a:lnTo>
                  <a:lnTo>
                    <a:pt x="442555" y="1541809"/>
                  </a:lnTo>
                  <a:lnTo>
                    <a:pt x="417638" y="1592880"/>
                  </a:lnTo>
                  <a:lnTo>
                    <a:pt x="393671" y="1642752"/>
                  </a:lnTo>
                  <a:lnTo>
                    <a:pt x="370646" y="1691383"/>
                  </a:lnTo>
                  <a:lnTo>
                    <a:pt x="348559" y="1738730"/>
                  </a:lnTo>
                  <a:lnTo>
                    <a:pt x="327404" y="1784750"/>
                  </a:lnTo>
                  <a:lnTo>
                    <a:pt x="307175" y="1829400"/>
                  </a:lnTo>
                  <a:lnTo>
                    <a:pt x="287867" y="1872639"/>
                  </a:lnTo>
                  <a:lnTo>
                    <a:pt x="269475" y="1914424"/>
                  </a:lnTo>
                  <a:lnTo>
                    <a:pt x="251991" y="1954711"/>
                  </a:lnTo>
                  <a:lnTo>
                    <a:pt x="235411" y="1993459"/>
                  </a:lnTo>
                  <a:lnTo>
                    <a:pt x="219729" y="2030625"/>
                  </a:lnTo>
                  <a:lnTo>
                    <a:pt x="204940" y="2066167"/>
                  </a:lnTo>
                  <a:lnTo>
                    <a:pt x="178016" y="2132205"/>
                  </a:lnTo>
                  <a:lnTo>
                    <a:pt x="154595" y="2191234"/>
                  </a:lnTo>
                  <a:lnTo>
                    <a:pt x="134630" y="2242913"/>
                  </a:lnTo>
                  <a:lnTo>
                    <a:pt x="125155" y="2267964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226568" y="6441135"/>
            <a:ext cx="1945639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Publikuar</a:t>
            </a:r>
            <a:r>
              <a:rPr sz="1400" spc="-4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më</a:t>
            </a:r>
            <a:r>
              <a:rPr sz="1400" spc="-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30.06.2022</a:t>
            </a:r>
            <a:endParaRPr sz="1400" dirty="0">
              <a:latin typeface="Ebrima"/>
              <a:cs typeface="Ebrima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222747" y="3380232"/>
            <a:ext cx="4378960" cy="2278380"/>
          </a:xfrm>
          <a:custGeom>
            <a:avLst/>
            <a:gdLst/>
            <a:ahLst/>
            <a:cxnLst/>
            <a:rect l="l" t="t" r="r" b="b"/>
            <a:pathLst>
              <a:path w="4378959" h="2278379">
                <a:moveTo>
                  <a:pt x="4378452" y="0"/>
                </a:moveTo>
                <a:lnTo>
                  <a:pt x="0" y="0"/>
                </a:lnTo>
                <a:lnTo>
                  <a:pt x="0" y="2278380"/>
                </a:lnTo>
                <a:lnTo>
                  <a:pt x="4378452" y="2278380"/>
                </a:lnTo>
                <a:lnTo>
                  <a:pt x="4378452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442976" y="2196464"/>
            <a:ext cx="2843530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FF0004"/>
                </a:solidFill>
                <a:latin typeface="Ebrima"/>
                <a:cs typeface="Ebrima"/>
              </a:rPr>
              <a:t>Struktura</a:t>
            </a:r>
            <a:r>
              <a:rPr sz="1600" spc="5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4"/>
                </a:solidFill>
                <a:latin typeface="Ebrima"/>
                <a:cs typeface="Ebrima"/>
              </a:rPr>
              <a:t>e</a:t>
            </a:r>
            <a:r>
              <a:rPr sz="1600" spc="-15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FF0004"/>
                </a:solidFill>
                <a:latin typeface="Ebrima"/>
                <a:cs typeface="Ebrima"/>
              </a:rPr>
              <a:t>Këshillit</a:t>
            </a:r>
            <a:r>
              <a:rPr sz="1600" spc="5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4"/>
                </a:solidFill>
                <a:latin typeface="Ebrima"/>
                <a:cs typeface="Ebrima"/>
              </a:rPr>
              <a:t>Mbikëqyrës</a:t>
            </a:r>
            <a:endParaRPr sz="1600">
              <a:latin typeface="Ebrima"/>
              <a:cs typeface="Ebrima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3672204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0" dirty="0"/>
              <a:t>Struktura</a:t>
            </a:r>
            <a:r>
              <a:rPr spc="10" dirty="0"/>
              <a:t> </a:t>
            </a:r>
            <a:r>
              <a:rPr spc="-5" dirty="0"/>
              <a:t>e </a:t>
            </a:r>
            <a:r>
              <a:rPr spc="-10" dirty="0"/>
              <a:t>Intersig</a:t>
            </a:r>
            <a:r>
              <a:rPr spc="5" dirty="0"/>
              <a:t> </a:t>
            </a:r>
            <a:r>
              <a:rPr spc="-10" dirty="0"/>
              <a:t>VIG</a:t>
            </a:r>
          </a:p>
        </p:txBody>
      </p:sp>
      <p:sp>
        <p:nvSpPr>
          <p:cNvPr id="5" name="object 5"/>
          <p:cNvSpPr/>
          <p:nvPr/>
        </p:nvSpPr>
        <p:spPr>
          <a:xfrm>
            <a:off x="449580" y="3380232"/>
            <a:ext cx="4378960" cy="2278380"/>
          </a:xfrm>
          <a:custGeom>
            <a:avLst/>
            <a:gdLst/>
            <a:ahLst/>
            <a:cxnLst/>
            <a:rect l="l" t="t" r="r" b="b"/>
            <a:pathLst>
              <a:path w="4378960" h="2278379">
                <a:moveTo>
                  <a:pt x="4378452" y="0"/>
                </a:moveTo>
                <a:lnTo>
                  <a:pt x="0" y="0"/>
                </a:lnTo>
                <a:lnTo>
                  <a:pt x="0" y="2278380"/>
                </a:lnTo>
                <a:lnTo>
                  <a:pt x="4378452" y="2278380"/>
                </a:lnTo>
                <a:lnTo>
                  <a:pt x="4378452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541019" y="3714750"/>
            <a:ext cx="222758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800" spc="-10" dirty="0">
                <a:solidFill>
                  <a:srgbClr val="FF0000"/>
                </a:solidFill>
                <a:latin typeface="Calibri"/>
                <a:cs typeface="Calibri"/>
              </a:rPr>
              <a:t>Struktura</a:t>
            </a:r>
            <a:r>
              <a:rPr sz="1800" spc="-3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FF0000"/>
                </a:solidFill>
                <a:latin typeface="Calibri"/>
                <a:cs typeface="Calibri"/>
              </a:rPr>
              <a:t>e</a:t>
            </a:r>
            <a:r>
              <a:rPr sz="1800" spc="-15" dirty="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sz="1800" spc="-10" dirty="0">
                <a:solidFill>
                  <a:srgbClr val="FF0000"/>
                </a:solidFill>
                <a:latin typeface="Calibri"/>
                <a:cs typeface="Calibri"/>
              </a:rPr>
              <a:t>Aksionarëve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41019" y="4274311"/>
            <a:ext cx="2385060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27965" indent="-227965">
              <a:lnSpc>
                <a:spcPct val="100000"/>
              </a:lnSpc>
              <a:spcBef>
                <a:spcPts val="95"/>
              </a:spcBef>
              <a:buFont typeface="Arial MT"/>
              <a:buChar char="•"/>
              <a:tabLst>
                <a:tab pos="227965" algn="l"/>
                <a:tab pos="228600" algn="l"/>
              </a:tabLst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Vienna Insurance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Group</a:t>
            </a:r>
            <a:endParaRPr sz="1600">
              <a:latin typeface="Ebrima"/>
              <a:cs typeface="Ebrima"/>
            </a:endParaRPr>
          </a:p>
          <a:p>
            <a:pPr marL="227965" indent="-227965">
              <a:lnSpc>
                <a:spcPct val="100000"/>
              </a:lnSpc>
              <a:buFont typeface="Arial MT"/>
              <a:buChar char="•"/>
              <a:tabLst>
                <a:tab pos="227965" algn="l"/>
                <a:tab pos="228600" algn="l"/>
              </a:tabLst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Z.</a:t>
            </a:r>
            <a:r>
              <a:rPr sz="16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Gentian</a:t>
            </a:r>
            <a:r>
              <a:rPr sz="1600" spc="-3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ula</a:t>
            </a:r>
            <a:endParaRPr sz="1600">
              <a:latin typeface="Ebrima"/>
              <a:cs typeface="Ebrima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3339338" y="4274311"/>
            <a:ext cx="66103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8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9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,9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8%</a:t>
            </a:r>
            <a:endParaRPr sz="1600">
              <a:latin typeface="Ebrima"/>
              <a:cs typeface="Ebrima"/>
            </a:endParaRPr>
          </a:p>
          <a:p>
            <a:pPr>
              <a:lnSpc>
                <a:spcPct val="100000"/>
              </a:lnSpc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1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0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,0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2%</a:t>
            </a:r>
            <a:endParaRPr sz="1600">
              <a:latin typeface="Ebrima"/>
              <a:cs typeface="Ebrima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5217033" y="2196464"/>
            <a:ext cx="2403475" cy="26924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FF0004"/>
                </a:solidFill>
                <a:latin typeface="Ebrima"/>
                <a:cs typeface="Ebrima"/>
              </a:rPr>
              <a:t>Struktura</a:t>
            </a:r>
            <a:r>
              <a:rPr sz="1600" spc="1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4"/>
                </a:solidFill>
                <a:latin typeface="Ebrima"/>
                <a:cs typeface="Ebrima"/>
              </a:rPr>
              <a:t>e</a:t>
            </a:r>
            <a:r>
              <a:rPr sz="1600" spc="-10" dirty="0">
                <a:solidFill>
                  <a:srgbClr val="FF0004"/>
                </a:solidFill>
                <a:latin typeface="Ebrima"/>
                <a:cs typeface="Ebrima"/>
              </a:rPr>
              <a:t> Bordit</a:t>
            </a:r>
            <a:r>
              <a:rPr sz="1600" spc="1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FF0004"/>
                </a:solidFill>
                <a:latin typeface="Ebrima"/>
                <a:cs typeface="Ebrima"/>
              </a:rPr>
              <a:t>Drejtues</a:t>
            </a:r>
            <a:endParaRPr sz="1600">
              <a:latin typeface="Ebrima"/>
              <a:cs typeface="Ebrima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5302377" y="3806190"/>
            <a:ext cx="1905000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5" dirty="0">
                <a:solidFill>
                  <a:srgbClr val="FF0004"/>
                </a:solidFill>
                <a:latin typeface="Calibri"/>
                <a:cs typeface="Calibri"/>
              </a:rPr>
              <a:t>Shoqëri</a:t>
            </a:r>
            <a:r>
              <a:rPr sz="1800" spc="-20" dirty="0">
                <a:solidFill>
                  <a:srgbClr val="FF0004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FF0004"/>
                </a:solidFill>
                <a:latin typeface="Calibri"/>
                <a:cs typeface="Calibri"/>
              </a:rPr>
              <a:t>nën</a:t>
            </a:r>
            <a:r>
              <a:rPr sz="1800" spc="-10" dirty="0">
                <a:solidFill>
                  <a:srgbClr val="FF0004"/>
                </a:solidFill>
                <a:latin typeface="Calibri"/>
                <a:cs typeface="Calibri"/>
              </a:rPr>
              <a:t> </a:t>
            </a:r>
            <a:r>
              <a:rPr sz="1800" spc="-15" dirty="0">
                <a:solidFill>
                  <a:srgbClr val="FF0004"/>
                </a:solidFill>
                <a:latin typeface="Calibri"/>
                <a:cs typeface="Calibri"/>
              </a:rPr>
              <a:t>zotërim</a:t>
            </a:r>
            <a:endParaRPr sz="1800">
              <a:latin typeface="Calibri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5302377" y="4356354"/>
            <a:ext cx="3739515" cy="574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800" spc="-15" dirty="0">
                <a:solidFill>
                  <a:srgbClr val="585858"/>
                </a:solidFill>
                <a:latin typeface="Calibri"/>
                <a:cs typeface="Calibri"/>
              </a:rPr>
              <a:t>Intersig</a:t>
            </a:r>
            <a:r>
              <a:rPr sz="1800" spc="-1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585858"/>
                </a:solidFill>
                <a:latin typeface="Calibri"/>
                <a:cs typeface="Calibri"/>
              </a:rPr>
              <a:t>VIG</a:t>
            </a:r>
            <a:r>
              <a:rPr sz="180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800" spc="-15" dirty="0">
                <a:solidFill>
                  <a:srgbClr val="585858"/>
                </a:solidFill>
                <a:latin typeface="Calibri"/>
                <a:cs typeface="Calibri"/>
              </a:rPr>
              <a:t>zotëron</a:t>
            </a:r>
            <a:r>
              <a:rPr sz="1800" spc="5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800" dirty="0">
                <a:solidFill>
                  <a:srgbClr val="585858"/>
                </a:solidFill>
                <a:latin typeface="Calibri"/>
                <a:cs typeface="Calibri"/>
              </a:rPr>
              <a:t>50% </a:t>
            </a:r>
            <a:r>
              <a:rPr sz="1800" spc="-15" dirty="0">
                <a:solidFill>
                  <a:srgbClr val="585858"/>
                </a:solidFill>
                <a:latin typeface="Calibri"/>
                <a:cs typeface="Calibri"/>
              </a:rPr>
              <a:t>të</a:t>
            </a:r>
            <a:r>
              <a:rPr sz="1800" spc="1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585858"/>
                </a:solidFill>
                <a:latin typeface="Calibri"/>
                <a:cs typeface="Calibri"/>
              </a:rPr>
              <a:t>VIG Services</a:t>
            </a:r>
            <a:endParaRPr sz="180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</a:pPr>
            <a:r>
              <a:rPr sz="1800" spc="-5" dirty="0">
                <a:solidFill>
                  <a:srgbClr val="585858"/>
                </a:solidFill>
                <a:latin typeface="Calibri"/>
                <a:cs typeface="Calibri"/>
              </a:rPr>
              <a:t>Albania</a:t>
            </a:r>
            <a:r>
              <a:rPr sz="1800" spc="-30" dirty="0">
                <a:solidFill>
                  <a:srgbClr val="585858"/>
                </a:solidFill>
                <a:latin typeface="Calibri"/>
                <a:cs typeface="Calibri"/>
              </a:rPr>
              <a:t> </a:t>
            </a:r>
            <a:r>
              <a:rPr sz="1800" spc="-5" dirty="0">
                <a:solidFill>
                  <a:srgbClr val="585858"/>
                </a:solidFill>
                <a:latin typeface="Calibri"/>
                <a:cs typeface="Calibri"/>
              </a:rPr>
              <a:t>Shpk.</a:t>
            </a:r>
            <a:endParaRPr sz="1800">
              <a:latin typeface="Calibri"/>
              <a:cs typeface="Calibri"/>
            </a:endParaRPr>
          </a:p>
        </p:txBody>
      </p:sp>
      <p:grpSp>
        <p:nvGrpSpPr>
          <p:cNvPr id="12" name="object 12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3" name="object 13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5" name="object 15"/>
          <p:cNvSpPr txBox="1"/>
          <p:nvPr/>
        </p:nvSpPr>
        <p:spPr>
          <a:xfrm>
            <a:off x="1380489" y="1232661"/>
            <a:ext cx="7129145" cy="5130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270125" marR="5080" indent="-2257425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Intersig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Vienna</a:t>
            </a:r>
            <a:r>
              <a:rPr sz="1600" spc="1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Insurance</a:t>
            </a:r>
            <a:r>
              <a:rPr sz="1600" spc="2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Group</a:t>
            </a:r>
            <a:r>
              <a:rPr sz="1600" spc="2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operon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në</a:t>
            </a:r>
            <a:r>
              <a:rPr sz="1600" spc="1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tregun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shqiptar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prej</a:t>
            </a:r>
            <a:r>
              <a:rPr sz="1600" spc="3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Tetorit</a:t>
            </a:r>
            <a:r>
              <a:rPr sz="1600" spc="1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2001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në </a:t>
            </a:r>
            <a:r>
              <a:rPr sz="1600" spc="-42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fushën</a:t>
            </a:r>
            <a:r>
              <a:rPr sz="1600" spc="-1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e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sigurimit</a:t>
            </a:r>
            <a:r>
              <a:rPr sz="1600" spc="2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të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jo-jetës.</a:t>
            </a:r>
            <a:endParaRPr sz="1600">
              <a:latin typeface="Ebrima"/>
              <a:cs typeface="Ebrima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8984279" y="17"/>
            <a:ext cx="3208020" cy="6858000"/>
            <a:chOff x="8984279" y="17"/>
            <a:chExt cx="3208020" cy="6858000"/>
          </a:xfrm>
        </p:grpSpPr>
        <p:sp>
          <p:nvSpPr>
            <p:cNvPr id="17" name="object 17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8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9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20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442976" y="2482341"/>
            <a:ext cx="1476375" cy="792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100"/>
              </a:spcBef>
              <a:buFont typeface="Arial MT"/>
              <a:buChar char="•"/>
              <a:tabLst>
                <a:tab pos="240665" algn="l"/>
                <a:tab pos="241300" algn="l"/>
              </a:tabLst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Z.</a:t>
            </a:r>
            <a:r>
              <a:rPr sz="1200" spc="-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Peter</a:t>
            </a:r>
            <a:r>
              <a:rPr sz="1200" spc="-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Hoefinger</a:t>
            </a:r>
            <a:endParaRPr sz="1200">
              <a:latin typeface="Ebrima"/>
              <a:cs typeface="Ebrima"/>
            </a:endParaRPr>
          </a:p>
          <a:p>
            <a:pPr marL="241300" indent="-228600">
              <a:lnSpc>
                <a:spcPct val="100000"/>
              </a:lnSpc>
              <a:spcBef>
                <a:spcPts val="865"/>
              </a:spcBef>
              <a:buFont typeface="Arial MT"/>
              <a:buChar char="•"/>
              <a:tabLst>
                <a:tab pos="240665" algn="l"/>
                <a:tab pos="241300" algn="l"/>
              </a:tabLst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Z.</a:t>
            </a:r>
            <a:r>
              <a:rPr sz="1200" spc="-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Christoph</a:t>
            </a:r>
            <a:r>
              <a:rPr sz="1200" spc="-4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Rath</a:t>
            </a:r>
            <a:endParaRPr sz="1200">
              <a:latin typeface="Ebrima"/>
              <a:cs typeface="Ebrima"/>
            </a:endParaRPr>
          </a:p>
          <a:p>
            <a:pPr marL="241300" indent="-228600">
              <a:lnSpc>
                <a:spcPct val="100000"/>
              </a:lnSpc>
              <a:spcBef>
                <a:spcPts val="850"/>
              </a:spcBef>
              <a:buFont typeface="Arial MT"/>
              <a:buChar char="•"/>
              <a:tabLst>
                <a:tab pos="240665" algn="l"/>
                <a:tab pos="241300" algn="l"/>
              </a:tabLst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Znj.</a:t>
            </a:r>
            <a:r>
              <a:rPr sz="1200" spc="-4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Liane</a:t>
            </a:r>
            <a:r>
              <a:rPr sz="1200" spc="-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Hirner</a:t>
            </a:r>
            <a:endParaRPr sz="1200">
              <a:latin typeface="Ebrima"/>
              <a:cs typeface="Ebrima"/>
            </a:endParaRPr>
          </a:p>
        </p:txBody>
      </p:sp>
      <p:sp>
        <p:nvSpPr>
          <p:cNvPr id="25" name="object 2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4</a:t>
            </a:fld>
            <a:endParaRPr dirty="0"/>
          </a:p>
        </p:txBody>
      </p:sp>
      <p:sp>
        <p:nvSpPr>
          <p:cNvPr id="22" name="object 22"/>
          <p:cNvSpPr txBox="1"/>
          <p:nvPr/>
        </p:nvSpPr>
        <p:spPr>
          <a:xfrm>
            <a:off x="3186429" y="2482341"/>
            <a:ext cx="553085" cy="792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Kryetar</a:t>
            </a:r>
            <a:endParaRPr sz="1200">
              <a:latin typeface="Ebrima"/>
              <a:cs typeface="Ebrima"/>
            </a:endParaRPr>
          </a:p>
          <a:p>
            <a:pPr marL="12700" marR="5080">
              <a:lnSpc>
                <a:spcPct val="159200"/>
              </a:lnSpc>
              <a:spcBef>
                <a:spcPts val="10"/>
              </a:spcBef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Anëtar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 An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ë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tare</a:t>
            </a:r>
            <a:endParaRPr sz="1200">
              <a:latin typeface="Ebrima"/>
              <a:cs typeface="Ebrima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5255514" y="2516885"/>
            <a:ext cx="1374775" cy="792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41300" indent="-228600">
              <a:lnSpc>
                <a:spcPct val="100000"/>
              </a:lnSpc>
              <a:spcBef>
                <a:spcPts val="100"/>
              </a:spcBef>
              <a:buFont typeface="Arial MT"/>
              <a:buChar char="•"/>
              <a:tabLst>
                <a:tab pos="240665" algn="l"/>
                <a:tab pos="241300" algn="l"/>
              </a:tabLst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Z.</a:t>
            </a:r>
            <a:r>
              <a:rPr sz="1200" spc="-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Gentian</a:t>
            </a:r>
            <a:r>
              <a:rPr sz="1200" spc="-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Sula</a:t>
            </a:r>
            <a:endParaRPr sz="1200">
              <a:latin typeface="Ebrima"/>
              <a:cs typeface="Ebrima"/>
            </a:endParaRPr>
          </a:p>
          <a:p>
            <a:pPr marL="241300" indent="-228600">
              <a:lnSpc>
                <a:spcPct val="100000"/>
              </a:lnSpc>
              <a:spcBef>
                <a:spcPts val="865"/>
              </a:spcBef>
              <a:buFont typeface="Arial MT"/>
              <a:buChar char="•"/>
              <a:tabLst>
                <a:tab pos="240665" algn="l"/>
                <a:tab pos="241300" algn="l"/>
              </a:tabLst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Znj.</a:t>
            </a:r>
            <a:r>
              <a:rPr sz="1200" spc="-4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Fitnete</a:t>
            </a:r>
            <a:r>
              <a:rPr sz="1200" spc="-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Sulaj</a:t>
            </a:r>
            <a:endParaRPr sz="1200">
              <a:latin typeface="Ebrima"/>
              <a:cs typeface="Ebrima"/>
            </a:endParaRPr>
          </a:p>
          <a:p>
            <a:pPr marL="241300" indent="-228600">
              <a:lnSpc>
                <a:spcPct val="100000"/>
              </a:lnSpc>
              <a:spcBef>
                <a:spcPts val="850"/>
              </a:spcBef>
              <a:buFont typeface="Arial MT"/>
              <a:buChar char="•"/>
              <a:tabLst>
                <a:tab pos="240665" algn="l"/>
                <a:tab pos="241300" algn="l"/>
              </a:tabLst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Z.</a:t>
            </a:r>
            <a:r>
              <a:rPr sz="1200" spc="-4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Fatmir</a:t>
            </a:r>
            <a:r>
              <a:rPr sz="1200" spc="-4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Bërdica</a:t>
            </a:r>
            <a:endParaRPr sz="1200">
              <a:latin typeface="Ebrima"/>
              <a:cs typeface="Ebrima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7998968" y="2516885"/>
            <a:ext cx="1492885" cy="79248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Drejtor</a:t>
            </a:r>
            <a:r>
              <a:rPr sz="1200" spc="-5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200" spc="-3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Përgjithshëm</a:t>
            </a:r>
            <a:endParaRPr sz="1200">
              <a:latin typeface="Ebrima"/>
              <a:cs typeface="Ebrima"/>
            </a:endParaRPr>
          </a:p>
          <a:p>
            <a:pPr marL="12700" marR="548640">
              <a:lnSpc>
                <a:spcPct val="159200"/>
              </a:lnSpc>
              <a:spcBef>
                <a:spcPts val="10"/>
              </a:spcBef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Anëtare</a:t>
            </a:r>
            <a:r>
              <a:rPr sz="1200" spc="-7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Bordi </a:t>
            </a:r>
            <a:r>
              <a:rPr sz="1200" spc="-3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Anëtar</a:t>
            </a:r>
            <a:r>
              <a:rPr sz="1200" spc="-3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Bordi</a:t>
            </a:r>
            <a:endParaRPr sz="1200">
              <a:latin typeface="Ebrima"/>
              <a:cs typeface="Ebrima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30661" y="1549908"/>
            <a:ext cx="10182282" cy="4461360"/>
          </a:xfrm>
          <a:prstGeom prst="rect">
            <a:avLst/>
          </a:prstGeom>
        </p:spPr>
      </p:pic>
      <p:grpSp>
        <p:nvGrpSpPr>
          <p:cNvPr id="3" name="object 3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4" name="object 4"/>
            <p:cNvSpPr/>
            <p:nvPr/>
          </p:nvSpPr>
          <p:spPr>
            <a:xfrm>
              <a:off x="0" y="961644"/>
              <a:ext cx="12192000" cy="45720"/>
            </a:xfrm>
            <a:custGeom>
              <a:avLst/>
              <a:gdLst/>
              <a:ahLst/>
              <a:cxnLst/>
              <a:rect l="l" t="t" r="r" b="b"/>
              <a:pathLst>
                <a:path w="12192000" h="45719">
                  <a:moveTo>
                    <a:pt x="12192000" y="0"/>
                  </a:moveTo>
                  <a:lnTo>
                    <a:pt x="0" y="0"/>
                  </a:lnTo>
                  <a:lnTo>
                    <a:pt x="0" y="45720"/>
                  </a:lnTo>
                  <a:lnTo>
                    <a:pt x="12192000" y="45720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000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384302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5" dirty="0"/>
              <a:t>Organizimi i</a:t>
            </a:r>
            <a:r>
              <a:rPr spc="-15" dirty="0"/>
              <a:t> </a:t>
            </a:r>
            <a:r>
              <a:rPr spc="-10" dirty="0"/>
              <a:t>Intersig</a:t>
            </a:r>
            <a:r>
              <a:rPr spc="20" dirty="0"/>
              <a:t> </a:t>
            </a:r>
            <a:r>
              <a:rPr spc="-10" dirty="0"/>
              <a:t>VIG</a:t>
            </a:r>
          </a:p>
        </p:txBody>
      </p:sp>
      <p:grpSp>
        <p:nvGrpSpPr>
          <p:cNvPr id="10" name="object 10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1" name="object 11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3" name="object 13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5</a:t>
            </a:fld>
            <a:endParaRPr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3" name="object 3"/>
            <p:cNvSpPr/>
            <p:nvPr/>
          </p:nvSpPr>
          <p:spPr>
            <a:xfrm>
              <a:off x="5222747" y="3093720"/>
              <a:ext cx="4378960" cy="2802890"/>
            </a:xfrm>
            <a:custGeom>
              <a:avLst/>
              <a:gdLst/>
              <a:ahLst/>
              <a:cxnLst/>
              <a:rect l="l" t="t" r="r" b="b"/>
              <a:pathLst>
                <a:path w="4378959" h="2802890">
                  <a:moveTo>
                    <a:pt x="4378452" y="0"/>
                  </a:moveTo>
                  <a:lnTo>
                    <a:pt x="0" y="0"/>
                  </a:lnTo>
                  <a:lnTo>
                    <a:pt x="0" y="2802635"/>
                  </a:lnTo>
                  <a:lnTo>
                    <a:pt x="4378452" y="2802635"/>
                  </a:lnTo>
                  <a:lnTo>
                    <a:pt x="4378452" y="0"/>
                  </a:lnTo>
                  <a:close/>
                </a:path>
              </a:pathLst>
            </a:custGeom>
            <a:solidFill>
              <a:srgbClr val="D9D9D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353758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0" dirty="0"/>
              <a:t>Historiku</a:t>
            </a:r>
            <a:r>
              <a:rPr spc="-20" dirty="0"/>
              <a:t> </a:t>
            </a:r>
            <a:r>
              <a:rPr spc="-5" dirty="0"/>
              <a:t>i</a:t>
            </a:r>
            <a:r>
              <a:rPr spc="-20" dirty="0"/>
              <a:t> </a:t>
            </a:r>
            <a:r>
              <a:rPr spc="-5" dirty="0"/>
              <a:t>Intersig</a:t>
            </a:r>
            <a:r>
              <a:rPr spc="5" dirty="0"/>
              <a:t> </a:t>
            </a:r>
            <a:r>
              <a:rPr spc="-10" dirty="0"/>
              <a:t>VIG</a:t>
            </a:r>
          </a:p>
        </p:txBody>
      </p:sp>
      <p:grpSp>
        <p:nvGrpSpPr>
          <p:cNvPr id="9" name="object 9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10" name="object 10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12"/>
          <p:cNvSpPr txBox="1"/>
          <p:nvPr/>
        </p:nvSpPr>
        <p:spPr>
          <a:xfrm>
            <a:off x="442976" y="1178433"/>
            <a:ext cx="9081770" cy="383222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>
                <a:solidFill>
                  <a:srgbClr val="FF0004"/>
                </a:solidFill>
                <a:latin typeface="Ebrima"/>
                <a:cs typeface="Ebrima"/>
              </a:rPr>
              <a:t>2001</a:t>
            </a:r>
            <a:endParaRPr sz="1600">
              <a:latin typeface="Ebrima"/>
              <a:cs typeface="Ebrima"/>
            </a:endParaRPr>
          </a:p>
          <a:p>
            <a:pPr marL="12700" marR="88900">
              <a:lnSpc>
                <a:spcPct val="100000"/>
              </a:lnSpc>
              <a:spcBef>
                <a:spcPts val="5"/>
              </a:spcBef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Intersig</a:t>
            </a:r>
            <a:r>
              <a:rPr sz="1200" spc="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u</a:t>
            </a:r>
            <a:r>
              <a:rPr sz="1200" spc="1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themelua</a:t>
            </a:r>
            <a:r>
              <a:rPr sz="1200" spc="7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200" spc="8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vitin</a:t>
            </a:r>
            <a:r>
              <a:rPr sz="1200" spc="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2001</a:t>
            </a:r>
            <a:r>
              <a:rPr sz="1200" spc="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nga</a:t>
            </a:r>
            <a:r>
              <a:rPr sz="1200" spc="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një</a:t>
            </a:r>
            <a:r>
              <a:rPr sz="1200" spc="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grup</a:t>
            </a:r>
            <a:r>
              <a:rPr sz="1200" spc="8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aksionarësh</a:t>
            </a:r>
            <a:r>
              <a:rPr sz="1200" spc="1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vendas</a:t>
            </a:r>
            <a:r>
              <a:rPr sz="1200" spc="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200" spc="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cilët</a:t>
            </a:r>
            <a:r>
              <a:rPr sz="1200" spc="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morën</a:t>
            </a:r>
            <a:r>
              <a:rPr sz="1200" spc="1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10" dirty="0">
                <a:solidFill>
                  <a:srgbClr val="585858"/>
                </a:solidFill>
                <a:latin typeface="Ebrima"/>
                <a:cs typeface="Ebrima"/>
              </a:rPr>
              <a:t>licencën</a:t>
            </a:r>
            <a:r>
              <a:rPr sz="1200" spc="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për</a:t>
            </a:r>
            <a:r>
              <a:rPr sz="1200" spc="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një</a:t>
            </a:r>
            <a:r>
              <a:rPr sz="1200" spc="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kompani</a:t>
            </a:r>
            <a:r>
              <a:rPr sz="1200" spc="1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jo-jete</a:t>
            </a:r>
            <a:r>
              <a:rPr sz="1200" spc="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200" spc="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Republikën</a:t>
            </a:r>
            <a:r>
              <a:rPr sz="1200" spc="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e </a:t>
            </a:r>
            <a:r>
              <a:rPr sz="1200" spc="-3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Shqipërisë.</a:t>
            </a:r>
            <a:endParaRPr sz="1200">
              <a:latin typeface="Ebrima"/>
              <a:cs typeface="Ebrima"/>
            </a:endParaRPr>
          </a:p>
          <a:p>
            <a:pPr>
              <a:lnSpc>
                <a:spcPct val="100000"/>
              </a:lnSpc>
            </a:pPr>
            <a:endParaRPr sz="1600">
              <a:latin typeface="Ebrima"/>
              <a:cs typeface="Ebrima"/>
            </a:endParaRPr>
          </a:p>
          <a:p>
            <a:pPr marL="12700">
              <a:lnSpc>
                <a:spcPct val="100000"/>
              </a:lnSpc>
              <a:spcBef>
                <a:spcPts val="1255"/>
              </a:spcBef>
            </a:pPr>
            <a:r>
              <a:rPr sz="1600" spc="-5" dirty="0">
                <a:solidFill>
                  <a:srgbClr val="FF0004"/>
                </a:solidFill>
                <a:latin typeface="Ebrima"/>
                <a:cs typeface="Ebrima"/>
              </a:rPr>
              <a:t>2001</a:t>
            </a:r>
            <a:r>
              <a:rPr sz="1600" spc="-3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4"/>
                </a:solidFill>
                <a:latin typeface="Ebrima"/>
                <a:cs typeface="Ebrima"/>
              </a:rPr>
              <a:t>–</a:t>
            </a:r>
            <a:r>
              <a:rPr sz="1600" spc="-3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dirty="0">
                <a:solidFill>
                  <a:srgbClr val="FF0004"/>
                </a:solidFill>
                <a:latin typeface="Ebrima"/>
                <a:cs typeface="Ebrima"/>
              </a:rPr>
              <a:t>2011</a:t>
            </a:r>
            <a:endParaRPr sz="1600">
              <a:latin typeface="Ebrima"/>
              <a:cs typeface="Ebri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Intersig</a:t>
            </a:r>
            <a:r>
              <a:rPr sz="12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pati</a:t>
            </a:r>
            <a:r>
              <a:rPr sz="12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një</a:t>
            </a:r>
            <a:r>
              <a:rPr sz="12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rritje</a:t>
            </a:r>
            <a:r>
              <a:rPr sz="12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2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qëndrueshme</a:t>
            </a:r>
            <a:r>
              <a:rPr sz="12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2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market</a:t>
            </a:r>
            <a:r>
              <a:rPr sz="12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share.</a:t>
            </a:r>
            <a:r>
              <a:rPr sz="12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Vienna</a:t>
            </a:r>
            <a:r>
              <a:rPr sz="12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Insurance</a:t>
            </a:r>
            <a:r>
              <a:rPr sz="12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Group</a:t>
            </a:r>
            <a:r>
              <a:rPr sz="12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bleu</a:t>
            </a:r>
            <a:r>
              <a:rPr sz="12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shumicën</a:t>
            </a:r>
            <a:r>
              <a:rPr sz="12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2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aksioneve</a:t>
            </a:r>
            <a:r>
              <a:rPr sz="12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200" spc="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Intersig</a:t>
            </a:r>
            <a:r>
              <a:rPr sz="12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Sha.,</a:t>
            </a:r>
            <a:r>
              <a:rPr sz="1200" spc="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2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bazë</a:t>
            </a:r>
            <a:r>
              <a:rPr sz="12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endParaRPr sz="1200">
              <a:latin typeface="Ebrima"/>
              <a:cs typeface="Ebrima"/>
            </a:endParaRPr>
          </a:p>
          <a:p>
            <a:pPr marL="12700">
              <a:lnSpc>
                <a:spcPct val="100000"/>
              </a:lnSpc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një</a:t>
            </a:r>
            <a:r>
              <a:rPr sz="1200" spc="-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marrëveshjeje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2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firmosur</a:t>
            </a:r>
            <a:r>
              <a:rPr sz="12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2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25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 Gusht</a:t>
            </a:r>
            <a:r>
              <a:rPr sz="1200" spc="-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2011 në</a:t>
            </a:r>
            <a:r>
              <a:rPr sz="12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Tiranë.</a:t>
            </a:r>
            <a:endParaRPr sz="1200">
              <a:latin typeface="Ebrima"/>
              <a:cs typeface="Ebrima"/>
            </a:endParaRPr>
          </a:p>
          <a:p>
            <a:pPr>
              <a:lnSpc>
                <a:spcPct val="100000"/>
              </a:lnSpc>
            </a:pPr>
            <a:endParaRPr sz="1600">
              <a:latin typeface="Ebrima"/>
              <a:cs typeface="Ebrima"/>
            </a:endParaRPr>
          </a:p>
          <a:p>
            <a:pPr marL="12700">
              <a:lnSpc>
                <a:spcPct val="100000"/>
              </a:lnSpc>
              <a:spcBef>
                <a:spcPts val="1320"/>
              </a:spcBef>
            </a:pPr>
            <a:r>
              <a:rPr sz="1600" spc="-5" dirty="0">
                <a:solidFill>
                  <a:srgbClr val="FF0004"/>
                </a:solidFill>
                <a:latin typeface="Ebrima"/>
                <a:cs typeface="Ebrima"/>
              </a:rPr>
              <a:t>2011</a:t>
            </a:r>
            <a:r>
              <a:rPr sz="1600" spc="-3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4"/>
                </a:solidFill>
                <a:latin typeface="Ebrima"/>
                <a:cs typeface="Ebrima"/>
              </a:rPr>
              <a:t>–</a:t>
            </a:r>
            <a:r>
              <a:rPr sz="1600" spc="-30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FF0004"/>
                </a:solidFill>
                <a:latin typeface="Ebrima"/>
                <a:cs typeface="Ebrima"/>
              </a:rPr>
              <a:t>Sot</a:t>
            </a:r>
            <a:endParaRPr sz="1600">
              <a:latin typeface="Ebrima"/>
              <a:cs typeface="Ebrima"/>
            </a:endParaRPr>
          </a:p>
          <a:p>
            <a:pPr marL="12700" marR="4779010" algn="just">
              <a:lnSpc>
                <a:spcPct val="100000"/>
              </a:lnSpc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Aktualisht, VIG zotëron 89,98%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të aksioneve </a:t>
            </a:r>
            <a:r>
              <a:rPr sz="1200" spc="5" dirty="0">
                <a:solidFill>
                  <a:srgbClr val="585858"/>
                </a:solidFill>
                <a:latin typeface="Ebrima"/>
                <a:cs typeface="Ebrima"/>
              </a:rPr>
              <a:t>të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Intersig VIG,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fakt </a:t>
            </a:r>
            <a:r>
              <a:rPr sz="1200" spc="-3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që</a:t>
            </a:r>
            <a:r>
              <a:rPr sz="12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ka</a:t>
            </a:r>
            <a:r>
              <a:rPr sz="12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influencuar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 në</a:t>
            </a:r>
            <a:r>
              <a:rPr sz="12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përmirësimin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 e</a:t>
            </a:r>
            <a:r>
              <a:rPr sz="12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produkteve</a:t>
            </a:r>
            <a:r>
              <a:rPr sz="1200" spc="3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dhe </a:t>
            </a:r>
            <a:r>
              <a:rPr sz="12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shërbimeve</a:t>
            </a:r>
            <a:r>
              <a:rPr sz="1200" spc="-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të ofruara.</a:t>
            </a:r>
            <a:endParaRPr sz="1200">
              <a:latin typeface="Ebrima"/>
              <a:cs typeface="Ebrima"/>
            </a:endParaRPr>
          </a:p>
          <a:p>
            <a:pPr marL="12700" marR="4778375" algn="just">
              <a:lnSpc>
                <a:spcPct val="100000"/>
              </a:lnSpc>
              <a:spcBef>
                <a:spcPts val="5"/>
              </a:spcBef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Intersig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VIG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 ka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reformuar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shumë </a:t>
            </a:r>
            <a:r>
              <a:rPr sz="1200" spc="-10" dirty="0">
                <a:solidFill>
                  <a:srgbClr val="585858"/>
                </a:solidFill>
                <a:latin typeface="Ebrima"/>
                <a:cs typeface="Ebrima"/>
              </a:rPr>
              <a:t>procese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duke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investuar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në </a:t>
            </a:r>
            <a:r>
              <a:rPr sz="12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përmirësimin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 e</a:t>
            </a:r>
            <a:r>
              <a:rPr sz="12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kualitetit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200" spc="34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stafit</a:t>
            </a:r>
            <a:r>
              <a:rPr sz="12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dhe</a:t>
            </a:r>
            <a:r>
              <a:rPr sz="12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digjitalizimin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 e </a:t>
            </a:r>
            <a:r>
              <a:rPr sz="12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procedurave.</a:t>
            </a:r>
            <a:endParaRPr sz="1200">
              <a:latin typeface="Ebrima"/>
              <a:cs typeface="Ebrima"/>
            </a:endParaRPr>
          </a:p>
          <a:p>
            <a:pPr marL="12700" algn="just">
              <a:lnSpc>
                <a:spcPct val="100000"/>
              </a:lnSpc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Krijimi</a:t>
            </a:r>
            <a:r>
              <a:rPr sz="1200" spc="15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200" spc="16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produkteve</a:t>
            </a:r>
            <a:r>
              <a:rPr sz="1200" spc="15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200" spc="15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reja</a:t>
            </a:r>
            <a:r>
              <a:rPr sz="1200" spc="16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si</a:t>
            </a:r>
            <a:r>
              <a:rPr sz="1200" spc="16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Sigurimi</a:t>
            </a:r>
            <a:r>
              <a:rPr sz="1200" spc="15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200" spc="16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Shëndetit,</a:t>
            </a:r>
            <a:r>
              <a:rPr sz="1200" spc="16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Easy</a:t>
            </a:r>
            <a:r>
              <a:rPr sz="1200" spc="15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Casco</a:t>
            </a:r>
            <a:endParaRPr sz="1200">
              <a:latin typeface="Ebrima"/>
              <a:cs typeface="Ebrima"/>
            </a:endParaRPr>
          </a:p>
          <a:p>
            <a:pPr marL="12700" algn="just">
              <a:lnSpc>
                <a:spcPct val="100000"/>
              </a:lnSpc>
            </a:pP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etj.</a:t>
            </a:r>
            <a:r>
              <a:rPr sz="12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janë</a:t>
            </a:r>
            <a:r>
              <a:rPr sz="12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bërë</a:t>
            </a:r>
            <a:r>
              <a:rPr sz="1200" spc="-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pjesë</a:t>
            </a:r>
            <a:r>
              <a:rPr sz="12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2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portofolit</a:t>
            </a:r>
            <a:r>
              <a:rPr sz="1200" spc="-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2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spc="-5" dirty="0">
                <a:solidFill>
                  <a:srgbClr val="585858"/>
                </a:solidFill>
                <a:latin typeface="Ebrima"/>
                <a:cs typeface="Ebrima"/>
              </a:rPr>
              <a:t>Intersig</a:t>
            </a:r>
            <a:r>
              <a:rPr sz="12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200" dirty="0">
                <a:solidFill>
                  <a:srgbClr val="585858"/>
                </a:solidFill>
                <a:latin typeface="Ebrima"/>
                <a:cs typeface="Ebrima"/>
              </a:rPr>
              <a:t>VIG.</a:t>
            </a:r>
            <a:endParaRPr sz="1200">
              <a:latin typeface="Ebrima"/>
              <a:cs typeface="Ebrima"/>
            </a:endParaRPr>
          </a:p>
        </p:txBody>
      </p:sp>
      <p:pic>
        <p:nvPicPr>
          <p:cNvPr id="13" name="object 1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436108" y="3197351"/>
            <a:ext cx="3951732" cy="2528316"/>
          </a:xfrm>
          <a:prstGeom prst="rect">
            <a:avLst/>
          </a:prstGeom>
        </p:spPr>
      </p:pic>
      <p:sp>
        <p:nvSpPr>
          <p:cNvPr id="14" name="object 14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6</a:t>
            </a:fld>
            <a:endParaRPr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2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3767328" y="1805939"/>
            <a:ext cx="6696456" cy="4733544"/>
          </a:xfrm>
          <a:prstGeom prst="rect">
            <a:avLst/>
          </a:prstGeom>
        </p:spPr>
      </p:pic>
      <p:sp>
        <p:nvSpPr>
          <p:cNvPr id="3" name="object 3"/>
          <p:cNvSpPr/>
          <p:nvPr/>
        </p:nvSpPr>
        <p:spPr>
          <a:xfrm>
            <a:off x="0" y="961644"/>
            <a:ext cx="12192000" cy="45720"/>
          </a:xfrm>
          <a:custGeom>
            <a:avLst/>
            <a:gdLst/>
            <a:ahLst/>
            <a:cxnLst/>
            <a:rect l="l" t="t" r="r" b="b"/>
            <a:pathLst>
              <a:path w="12192000" h="45719">
                <a:moveTo>
                  <a:pt x="12192000" y="0"/>
                </a:moveTo>
                <a:lnTo>
                  <a:pt x="0" y="0"/>
                </a:lnTo>
                <a:lnTo>
                  <a:pt x="0" y="45720"/>
                </a:lnTo>
                <a:lnTo>
                  <a:pt x="12192000" y="4572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F000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442976" y="395986"/>
            <a:ext cx="465582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800" spc="-10" dirty="0">
                <a:solidFill>
                  <a:srgbClr val="FF0004"/>
                </a:solidFill>
                <a:latin typeface="Ebrima"/>
                <a:cs typeface="Ebrima"/>
              </a:rPr>
              <a:t>Vienna</a:t>
            </a:r>
            <a:r>
              <a:rPr sz="2800" spc="-15" dirty="0">
                <a:solidFill>
                  <a:srgbClr val="FF0004"/>
                </a:solidFill>
                <a:latin typeface="Ebrima"/>
                <a:cs typeface="Ebrima"/>
              </a:rPr>
              <a:t> </a:t>
            </a:r>
            <a:r>
              <a:rPr sz="2800" spc="-5" dirty="0">
                <a:solidFill>
                  <a:srgbClr val="FF0004"/>
                </a:solidFill>
                <a:latin typeface="Ebrima"/>
                <a:cs typeface="Ebrima"/>
              </a:rPr>
              <a:t>Insurance </a:t>
            </a:r>
            <a:r>
              <a:rPr sz="2800" spc="-10" dirty="0">
                <a:solidFill>
                  <a:srgbClr val="FF0004"/>
                </a:solidFill>
                <a:latin typeface="Ebrima"/>
                <a:cs typeface="Ebrima"/>
              </a:rPr>
              <a:t>Group</a:t>
            </a:r>
            <a:r>
              <a:rPr sz="2800" spc="-5" dirty="0">
                <a:solidFill>
                  <a:srgbClr val="FF0004"/>
                </a:solidFill>
                <a:latin typeface="Ebrima"/>
                <a:cs typeface="Ebrima"/>
              </a:rPr>
              <a:t> (VIG)</a:t>
            </a:r>
            <a:endParaRPr sz="2800">
              <a:latin typeface="Ebrima"/>
              <a:cs typeface="Ebrima"/>
            </a:endParaRPr>
          </a:p>
        </p:txBody>
      </p:sp>
      <p:grpSp>
        <p:nvGrpSpPr>
          <p:cNvPr id="5" name="object 5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6" name="object 6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" name="object 8"/>
          <p:cNvSpPr txBox="1"/>
          <p:nvPr/>
        </p:nvSpPr>
        <p:spPr>
          <a:xfrm>
            <a:off x="408228" y="1232661"/>
            <a:ext cx="8745855" cy="7569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>
              <a:lnSpc>
                <a:spcPct val="100000"/>
              </a:lnSpc>
              <a:spcBef>
                <a:spcPts val="95"/>
              </a:spcBef>
            </a:pP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Vienna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Insurance</a:t>
            </a:r>
            <a:r>
              <a:rPr sz="1600" spc="3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Group,</a:t>
            </a:r>
            <a:r>
              <a:rPr sz="1600" spc="2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me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seli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të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regjistruar</a:t>
            </a:r>
            <a:r>
              <a:rPr sz="1600" spc="4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në</a:t>
            </a:r>
            <a:r>
              <a:rPr sz="1600" spc="1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Vjenë,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Austri,</a:t>
            </a:r>
            <a:r>
              <a:rPr sz="1600" spc="3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është</a:t>
            </a:r>
            <a:r>
              <a:rPr sz="1600" spc="1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një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nga</a:t>
            </a:r>
            <a:r>
              <a:rPr sz="1600" spc="1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grupet</a:t>
            </a:r>
            <a:r>
              <a:rPr sz="1600" spc="1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më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të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mëdha </a:t>
            </a:r>
            <a:r>
              <a:rPr sz="1600" spc="-42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ndërkombëtare</a:t>
            </a:r>
            <a:r>
              <a:rPr sz="1600" spc="2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të</a:t>
            </a:r>
            <a:r>
              <a:rPr sz="1600" spc="1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sigurimeve</a:t>
            </a:r>
            <a:r>
              <a:rPr sz="1600" spc="2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në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Evropën</a:t>
            </a:r>
            <a:r>
              <a:rPr sz="1600" spc="2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Qendrore</a:t>
            </a:r>
            <a:r>
              <a:rPr sz="1600" spc="2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dhe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Lindore,</a:t>
            </a:r>
            <a:r>
              <a:rPr sz="1600" spc="1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me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mbi</a:t>
            </a:r>
            <a:r>
              <a:rPr sz="1600" spc="1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25,000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punonjës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në</a:t>
            </a:r>
            <a:r>
              <a:rPr sz="1600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7E7E7E"/>
                </a:solidFill>
                <a:latin typeface="Ebrima"/>
                <a:cs typeface="Ebrima"/>
              </a:rPr>
              <a:t>50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 shoqëri</a:t>
            </a:r>
            <a:r>
              <a:rPr sz="1600" spc="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të shpërndara</a:t>
            </a:r>
            <a:r>
              <a:rPr sz="1600" spc="15" dirty="0">
                <a:solidFill>
                  <a:srgbClr val="7E7E7E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7E7E7E"/>
                </a:solidFill>
                <a:latin typeface="Ebrima"/>
                <a:cs typeface="Ebrima"/>
              </a:rPr>
              <a:t>në 30 shtete.</a:t>
            </a:r>
            <a:endParaRPr sz="1600">
              <a:latin typeface="Ebrima"/>
              <a:cs typeface="Ebrima"/>
            </a:endParaRPr>
          </a:p>
        </p:txBody>
      </p:sp>
      <p:grpSp>
        <p:nvGrpSpPr>
          <p:cNvPr id="9" name="object 9"/>
          <p:cNvGrpSpPr/>
          <p:nvPr/>
        </p:nvGrpSpPr>
        <p:grpSpPr>
          <a:xfrm>
            <a:off x="149352" y="17"/>
            <a:ext cx="12042775" cy="6858000"/>
            <a:chOff x="149352" y="17"/>
            <a:chExt cx="12042775" cy="6858000"/>
          </a:xfrm>
        </p:grpSpPr>
        <p:sp>
          <p:nvSpPr>
            <p:cNvPr id="10" name="object 10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" name="object 11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" name="object 12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" name="object 13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4" name="object 1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49352" y="2301239"/>
              <a:ext cx="3550920" cy="3686555"/>
            </a:xfrm>
            <a:prstGeom prst="rect">
              <a:avLst/>
            </a:prstGeom>
          </p:spPr>
        </p:pic>
      </p:grpSp>
      <p:sp>
        <p:nvSpPr>
          <p:cNvPr id="15" name="object 15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7</a:t>
            </a:fld>
            <a:endParaRPr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3" name="object 3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" name="object 4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5" name="object 5"/>
          <p:cNvGrpSpPr/>
          <p:nvPr/>
        </p:nvGrpSpPr>
        <p:grpSpPr>
          <a:xfrm>
            <a:off x="9164404" y="17"/>
            <a:ext cx="3027680" cy="6858000"/>
            <a:chOff x="9164404" y="17"/>
            <a:chExt cx="3027680" cy="6858000"/>
          </a:xfrm>
        </p:grpSpPr>
        <p:sp>
          <p:nvSpPr>
            <p:cNvPr id="6" name="object 6"/>
            <p:cNvSpPr/>
            <p:nvPr/>
          </p:nvSpPr>
          <p:spPr>
            <a:xfrm>
              <a:off x="9176362" y="17"/>
              <a:ext cx="3016250" cy="6858000"/>
            </a:xfrm>
            <a:custGeom>
              <a:avLst/>
              <a:gdLst/>
              <a:ahLst/>
              <a:cxnLst/>
              <a:rect l="l" t="t" r="r" b="b"/>
              <a:pathLst>
                <a:path w="3016250" h="6858000">
                  <a:moveTo>
                    <a:pt x="3015636" y="0"/>
                  </a:moveTo>
                  <a:lnTo>
                    <a:pt x="0" y="0"/>
                  </a:lnTo>
                  <a:lnTo>
                    <a:pt x="31579" y="31104"/>
                  </a:lnTo>
                  <a:lnTo>
                    <a:pt x="66315" y="65866"/>
                  </a:lnTo>
                  <a:lnTo>
                    <a:pt x="100787" y="100914"/>
                  </a:lnTo>
                  <a:lnTo>
                    <a:pt x="134993" y="136249"/>
                  </a:lnTo>
                  <a:lnTo>
                    <a:pt x="168934" y="171869"/>
                  </a:lnTo>
                  <a:lnTo>
                    <a:pt x="202608" y="207773"/>
                  </a:lnTo>
                  <a:lnTo>
                    <a:pt x="236015" y="243960"/>
                  </a:lnTo>
                  <a:lnTo>
                    <a:pt x="269154" y="280430"/>
                  </a:lnTo>
                  <a:lnTo>
                    <a:pt x="302025" y="317181"/>
                  </a:lnTo>
                  <a:lnTo>
                    <a:pt x="334626" y="354212"/>
                  </a:lnTo>
                  <a:lnTo>
                    <a:pt x="366958" y="391522"/>
                  </a:lnTo>
                  <a:lnTo>
                    <a:pt x="399019" y="429111"/>
                  </a:lnTo>
                  <a:lnTo>
                    <a:pt x="430809" y="466977"/>
                  </a:lnTo>
                  <a:lnTo>
                    <a:pt x="462327" y="505119"/>
                  </a:lnTo>
                  <a:lnTo>
                    <a:pt x="493572" y="543537"/>
                  </a:lnTo>
                  <a:lnTo>
                    <a:pt x="524545" y="582230"/>
                  </a:lnTo>
                  <a:lnTo>
                    <a:pt x="555243" y="621196"/>
                  </a:lnTo>
                  <a:lnTo>
                    <a:pt x="585667" y="660434"/>
                  </a:lnTo>
                  <a:lnTo>
                    <a:pt x="615815" y="699945"/>
                  </a:lnTo>
                  <a:lnTo>
                    <a:pt x="645687" y="739725"/>
                  </a:lnTo>
                  <a:lnTo>
                    <a:pt x="675283" y="779776"/>
                  </a:lnTo>
                  <a:lnTo>
                    <a:pt x="704602" y="820095"/>
                  </a:lnTo>
                  <a:lnTo>
                    <a:pt x="733643" y="860681"/>
                  </a:lnTo>
                  <a:lnTo>
                    <a:pt x="762404" y="901535"/>
                  </a:lnTo>
                  <a:lnTo>
                    <a:pt x="790887" y="942654"/>
                  </a:lnTo>
                  <a:lnTo>
                    <a:pt x="819090" y="984038"/>
                  </a:lnTo>
                  <a:lnTo>
                    <a:pt x="847012" y="1025686"/>
                  </a:lnTo>
                  <a:lnTo>
                    <a:pt x="874652" y="1067597"/>
                  </a:lnTo>
                  <a:lnTo>
                    <a:pt x="902011" y="1109770"/>
                  </a:lnTo>
                  <a:lnTo>
                    <a:pt x="929087" y="1152203"/>
                  </a:lnTo>
                  <a:lnTo>
                    <a:pt x="955879" y="1194897"/>
                  </a:lnTo>
                  <a:lnTo>
                    <a:pt x="982388" y="1237849"/>
                  </a:lnTo>
                  <a:lnTo>
                    <a:pt x="1008611" y="1281060"/>
                  </a:lnTo>
                  <a:lnTo>
                    <a:pt x="1034550" y="1324528"/>
                  </a:lnTo>
                  <a:lnTo>
                    <a:pt x="1060202" y="1368251"/>
                  </a:lnTo>
                  <a:lnTo>
                    <a:pt x="1085567" y="1412230"/>
                  </a:lnTo>
                  <a:lnTo>
                    <a:pt x="1110645" y="1456463"/>
                  </a:lnTo>
                  <a:lnTo>
                    <a:pt x="1135435" y="1500949"/>
                  </a:lnTo>
                  <a:lnTo>
                    <a:pt x="1159936" y="1545688"/>
                  </a:lnTo>
                  <a:lnTo>
                    <a:pt x="1184148" y="1590677"/>
                  </a:lnTo>
                  <a:lnTo>
                    <a:pt x="1208070" y="1635917"/>
                  </a:lnTo>
                  <a:lnTo>
                    <a:pt x="1231700" y="1681406"/>
                  </a:lnTo>
                  <a:lnTo>
                    <a:pt x="1255039" y="1727144"/>
                  </a:lnTo>
                  <a:lnTo>
                    <a:pt x="1278086" y="1773129"/>
                  </a:lnTo>
                  <a:lnTo>
                    <a:pt x="1300841" y="1819360"/>
                  </a:lnTo>
                  <a:lnTo>
                    <a:pt x="1323301" y="1865837"/>
                  </a:lnTo>
                  <a:lnTo>
                    <a:pt x="1345468" y="1912558"/>
                  </a:lnTo>
                  <a:lnTo>
                    <a:pt x="1365793" y="1956106"/>
                  </a:lnTo>
                  <a:lnTo>
                    <a:pt x="1385871" y="1999878"/>
                  </a:lnTo>
                  <a:lnTo>
                    <a:pt x="1405701" y="2043873"/>
                  </a:lnTo>
                  <a:lnTo>
                    <a:pt x="1425283" y="2088090"/>
                  </a:lnTo>
                  <a:lnTo>
                    <a:pt x="1444616" y="2132528"/>
                  </a:lnTo>
                  <a:lnTo>
                    <a:pt x="1463701" y="2177183"/>
                  </a:lnTo>
                  <a:lnTo>
                    <a:pt x="1482536" y="2222057"/>
                  </a:lnTo>
                  <a:lnTo>
                    <a:pt x="1501121" y="2267146"/>
                  </a:lnTo>
                  <a:lnTo>
                    <a:pt x="1519457" y="2312449"/>
                  </a:lnTo>
                  <a:lnTo>
                    <a:pt x="1537542" y="2357965"/>
                  </a:lnTo>
                  <a:lnTo>
                    <a:pt x="1555376" y="2403693"/>
                  </a:lnTo>
                  <a:lnTo>
                    <a:pt x="1572960" y="2449630"/>
                  </a:lnTo>
                  <a:lnTo>
                    <a:pt x="1590292" y="2495776"/>
                  </a:lnTo>
                  <a:lnTo>
                    <a:pt x="1607372" y="2542129"/>
                  </a:lnTo>
                  <a:lnTo>
                    <a:pt x="1624200" y="2588688"/>
                  </a:lnTo>
                  <a:lnTo>
                    <a:pt x="1640776" y="2635450"/>
                  </a:lnTo>
                  <a:lnTo>
                    <a:pt x="1657099" y="2682416"/>
                  </a:lnTo>
                  <a:lnTo>
                    <a:pt x="1673168" y="2729582"/>
                  </a:lnTo>
                  <a:lnTo>
                    <a:pt x="1688984" y="2776948"/>
                  </a:lnTo>
                  <a:lnTo>
                    <a:pt x="1704546" y="2824512"/>
                  </a:lnTo>
                  <a:lnTo>
                    <a:pt x="1719854" y="2872273"/>
                  </a:lnTo>
                  <a:lnTo>
                    <a:pt x="1734908" y="2920229"/>
                  </a:lnTo>
                  <a:lnTo>
                    <a:pt x="1749706" y="2968379"/>
                  </a:lnTo>
                  <a:lnTo>
                    <a:pt x="1764249" y="3016722"/>
                  </a:lnTo>
                  <a:lnTo>
                    <a:pt x="1778536" y="3065255"/>
                  </a:lnTo>
                  <a:lnTo>
                    <a:pt x="1792568" y="3113978"/>
                  </a:lnTo>
                  <a:lnTo>
                    <a:pt x="1806343" y="3162888"/>
                  </a:lnTo>
                  <a:lnTo>
                    <a:pt x="1819861" y="3211985"/>
                  </a:lnTo>
                  <a:lnTo>
                    <a:pt x="1833122" y="3261267"/>
                  </a:lnTo>
                  <a:lnTo>
                    <a:pt x="1846126" y="3310733"/>
                  </a:lnTo>
                  <a:lnTo>
                    <a:pt x="1858872" y="3360381"/>
                  </a:lnTo>
                  <a:lnTo>
                    <a:pt x="1871359" y="3410209"/>
                  </a:lnTo>
                  <a:lnTo>
                    <a:pt x="1883589" y="3460216"/>
                  </a:lnTo>
                  <a:lnTo>
                    <a:pt x="1895559" y="3510401"/>
                  </a:lnTo>
                  <a:lnTo>
                    <a:pt x="1907270" y="3560763"/>
                  </a:lnTo>
                  <a:lnTo>
                    <a:pt x="1918722" y="3611299"/>
                  </a:lnTo>
                  <a:lnTo>
                    <a:pt x="1929913" y="3662008"/>
                  </a:lnTo>
                  <a:lnTo>
                    <a:pt x="1940845" y="3712889"/>
                  </a:lnTo>
                  <a:lnTo>
                    <a:pt x="1951516" y="3763940"/>
                  </a:lnTo>
                  <a:lnTo>
                    <a:pt x="1961925" y="3815161"/>
                  </a:lnTo>
                  <a:lnTo>
                    <a:pt x="1972074" y="3866548"/>
                  </a:lnTo>
                  <a:lnTo>
                    <a:pt x="1981960" y="3918102"/>
                  </a:lnTo>
                  <a:lnTo>
                    <a:pt x="1991585" y="3969820"/>
                  </a:lnTo>
                  <a:lnTo>
                    <a:pt x="2000947" y="4021701"/>
                  </a:lnTo>
                  <a:lnTo>
                    <a:pt x="2013434" y="4093878"/>
                  </a:lnTo>
                  <a:lnTo>
                    <a:pt x="2025290" y="4165631"/>
                  </a:lnTo>
                  <a:lnTo>
                    <a:pt x="2036532" y="4236940"/>
                  </a:lnTo>
                  <a:lnTo>
                    <a:pt x="2047170" y="4307783"/>
                  </a:lnTo>
                  <a:lnTo>
                    <a:pt x="2057221" y="4378140"/>
                  </a:lnTo>
                  <a:lnTo>
                    <a:pt x="2066696" y="4447991"/>
                  </a:lnTo>
                  <a:lnTo>
                    <a:pt x="2075609" y="4517313"/>
                  </a:lnTo>
                  <a:lnTo>
                    <a:pt x="2083975" y="4586086"/>
                  </a:lnTo>
                  <a:lnTo>
                    <a:pt x="2091807" y="4654289"/>
                  </a:lnTo>
                  <a:lnTo>
                    <a:pt x="2099118" y="4721902"/>
                  </a:lnTo>
                  <a:lnTo>
                    <a:pt x="2105921" y="4788902"/>
                  </a:lnTo>
                  <a:lnTo>
                    <a:pt x="2112232" y="4855270"/>
                  </a:lnTo>
                  <a:lnTo>
                    <a:pt x="2118062" y="4920984"/>
                  </a:lnTo>
                  <a:lnTo>
                    <a:pt x="2123426" y="4986024"/>
                  </a:lnTo>
                  <a:lnTo>
                    <a:pt x="2128338" y="5050367"/>
                  </a:lnTo>
                  <a:lnTo>
                    <a:pt x="2132810" y="5113995"/>
                  </a:lnTo>
                  <a:lnTo>
                    <a:pt x="2136856" y="5176885"/>
                  </a:lnTo>
                  <a:lnTo>
                    <a:pt x="2140491" y="5239016"/>
                  </a:lnTo>
                  <a:lnTo>
                    <a:pt x="2143728" y="5300368"/>
                  </a:lnTo>
                  <a:lnTo>
                    <a:pt x="2146579" y="5360919"/>
                  </a:lnTo>
                  <a:lnTo>
                    <a:pt x="2149060" y="5420650"/>
                  </a:lnTo>
                  <a:lnTo>
                    <a:pt x="2151183" y="5479538"/>
                  </a:lnTo>
                  <a:lnTo>
                    <a:pt x="2152962" y="5537563"/>
                  </a:lnTo>
                  <a:lnTo>
                    <a:pt x="2154410" y="5594704"/>
                  </a:lnTo>
                  <a:lnTo>
                    <a:pt x="2155542" y="5650940"/>
                  </a:lnTo>
                  <a:lnTo>
                    <a:pt x="2156371" y="5706250"/>
                  </a:lnTo>
                  <a:lnTo>
                    <a:pt x="2156910" y="5760613"/>
                  </a:lnTo>
                  <a:lnTo>
                    <a:pt x="2157146" y="5872161"/>
                  </a:lnTo>
                  <a:lnTo>
                    <a:pt x="2156925" y="5917811"/>
                  </a:lnTo>
                  <a:lnTo>
                    <a:pt x="2156442" y="5968177"/>
                  </a:lnTo>
                  <a:lnTo>
                    <a:pt x="2155737" y="6017492"/>
                  </a:lnTo>
                  <a:lnTo>
                    <a:pt x="2154823" y="6065733"/>
                  </a:lnTo>
                  <a:lnTo>
                    <a:pt x="2153716" y="6112882"/>
                  </a:lnTo>
                  <a:lnTo>
                    <a:pt x="2152427" y="6158915"/>
                  </a:lnTo>
                  <a:lnTo>
                    <a:pt x="2150972" y="6203814"/>
                  </a:lnTo>
                  <a:lnTo>
                    <a:pt x="2149362" y="6247556"/>
                  </a:lnTo>
                  <a:lnTo>
                    <a:pt x="2147613" y="6290121"/>
                  </a:lnTo>
                  <a:lnTo>
                    <a:pt x="2145737" y="6331487"/>
                  </a:lnTo>
                  <a:lnTo>
                    <a:pt x="2143748" y="6371634"/>
                  </a:lnTo>
                  <a:lnTo>
                    <a:pt x="2141659" y="6410542"/>
                  </a:lnTo>
                  <a:lnTo>
                    <a:pt x="2137240" y="6484552"/>
                  </a:lnTo>
                  <a:lnTo>
                    <a:pt x="2132585" y="6553351"/>
                  </a:lnTo>
                  <a:lnTo>
                    <a:pt x="2127806" y="6616770"/>
                  </a:lnTo>
                  <a:lnTo>
                    <a:pt x="2123010" y="6674642"/>
                  </a:lnTo>
                  <a:lnTo>
                    <a:pt x="2118306" y="6726800"/>
                  </a:lnTo>
                  <a:lnTo>
                    <a:pt x="2113803" y="6773077"/>
                  </a:lnTo>
                  <a:lnTo>
                    <a:pt x="2109610" y="6813303"/>
                  </a:lnTo>
                  <a:lnTo>
                    <a:pt x="2104652" y="6857978"/>
                  </a:lnTo>
                  <a:lnTo>
                    <a:pt x="2130931" y="6857978"/>
                  </a:lnTo>
                  <a:lnTo>
                    <a:pt x="2167861" y="6816284"/>
                  </a:lnTo>
                  <a:lnTo>
                    <a:pt x="2201126" y="6778081"/>
                  </a:lnTo>
                  <a:lnTo>
                    <a:pt x="2234115" y="6739597"/>
                  </a:lnTo>
                  <a:lnTo>
                    <a:pt x="2266825" y="6700836"/>
                  </a:lnTo>
                  <a:lnTo>
                    <a:pt x="2299255" y="6661801"/>
                  </a:lnTo>
                  <a:lnTo>
                    <a:pt x="2331401" y="6622494"/>
                  </a:lnTo>
                  <a:lnTo>
                    <a:pt x="2363262" y="6582919"/>
                  </a:lnTo>
                  <a:lnTo>
                    <a:pt x="2394835" y="6543080"/>
                  </a:lnTo>
                  <a:lnTo>
                    <a:pt x="2426118" y="6502978"/>
                  </a:lnTo>
                  <a:lnTo>
                    <a:pt x="2457109" y="6462618"/>
                  </a:lnTo>
                  <a:lnTo>
                    <a:pt x="2487805" y="6422003"/>
                  </a:lnTo>
                  <a:lnTo>
                    <a:pt x="2518203" y="6381134"/>
                  </a:lnTo>
                  <a:lnTo>
                    <a:pt x="2548302" y="6340017"/>
                  </a:lnTo>
                  <a:lnTo>
                    <a:pt x="2578099" y="6298653"/>
                  </a:lnTo>
                  <a:lnTo>
                    <a:pt x="2607592" y="6257046"/>
                  </a:lnTo>
                  <a:lnTo>
                    <a:pt x="2636778" y="6215199"/>
                  </a:lnTo>
                  <a:lnTo>
                    <a:pt x="2665656" y="6173116"/>
                  </a:lnTo>
                  <a:lnTo>
                    <a:pt x="2694222" y="6130798"/>
                  </a:lnTo>
                  <a:lnTo>
                    <a:pt x="2722474" y="6088250"/>
                  </a:lnTo>
                  <a:lnTo>
                    <a:pt x="2750411" y="6045475"/>
                  </a:lnTo>
                  <a:lnTo>
                    <a:pt x="2778029" y="6002475"/>
                  </a:lnTo>
                  <a:lnTo>
                    <a:pt x="2805327" y="5959254"/>
                  </a:lnTo>
                  <a:lnTo>
                    <a:pt x="2832301" y="5915815"/>
                  </a:lnTo>
                  <a:lnTo>
                    <a:pt x="2858950" y="5872161"/>
                  </a:lnTo>
                  <a:lnTo>
                    <a:pt x="2885272" y="5828294"/>
                  </a:lnTo>
                  <a:lnTo>
                    <a:pt x="2911263" y="5784219"/>
                  </a:lnTo>
                  <a:lnTo>
                    <a:pt x="2946680" y="5722913"/>
                  </a:lnTo>
                  <a:lnTo>
                    <a:pt x="2981344" y="5661454"/>
                  </a:lnTo>
                  <a:lnTo>
                    <a:pt x="3015636" y="5599160"/>
                  </a:lnTo>
                  <a:lnTo>
                    <a:pt x="301563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164404" y="12696"/>
              <a:ext cx="3027680" cy="6845300"/>
            </a:xfrm>
            <a:custGeom>
              <a:avLst/>
              <a:gdLst/>
              <a:ahLst/>
              <a:cxnLst/>
              <a:rect l="l" t="t" r="r" b="b"/>
              <a:pathLst>
                <a:path w="3027679" h="6845300">
                  <a:moveTo>
                    <a:pt x="42518" y="0"/>
                  </a:moveTo>
                  <a:lnTo>
                    <a:pt x="0" y="0"/>
                  </a:lnTo>
                  <a:lnTo>
                    <a:pt x="47214" y="50800"/>
                  </a:lnTo>
                  <a:lnTo>
                    <a:pt x="93751" y="88900"/>
                  </a:lnTo>
                  <a:lnTo>
                    <a:pt x="139616" y="139700"/>
                  </a:lnTo>
                  <a:lnTo>
                    <a:pt x="184813" y="190500"/>
                  </a:lnTo>
                  <a:lnTo>
                    <a:pt x="229348" y="241300"/>
                  </a:lnTo>
                  <a:lnTo>
                    <a:pt x="273224" y="279400"/>
                  </a:lnTo>
                  <a:lnTo>
                    <a:pt x="316447" y="330200"/>
                  </a:lnTo>
                  <a:lnTo>
                    <a:pt x="359021" y="381000"/>
                  </a:lnTo>
                  <a:lnTo>
                    <a:pt x="400951" y="431800"/>
                  </a:lnTo>
                  <a:lnTo>
                    <a:pt x="442241" y="482600"/>
                  </a:lnTo>
                  <a:lnTo>
                    <a:pt x="482898" y="533400"/>
                  </a:lnTo>
                  <a:lnTo>
                    <a:pt x="522924" y="584200"/>
                  </a:lnTo>
                  <a:lnTo>
                    <a:pt x="562325" y="635000"/>
                  </a:lnTo>
                  <a:lnTo>
                    <a:pt x="601106" y="685800"/>
                  </a:lnTo>
                  <a:lnTo>
                    <a:pt x="639271" y="736600"/>
                  </a:lnTo>
                  <a:lnTo>
                    <a:pt x="676824" y="787400"/>
                  </a:lnTo>
                  <a:lnTo>
                    <a:pt x="713772" y="838200"/>
                  </a:lnTo>
                  <a:lnTo>
                    <a:pt x="750118" y="889000"/>
                  </a:lnTo>
                  <a:lnTo>
                    <a:pt x="785867" y="939800"/>
                  </a:lnTo>
                  <a:lnTo>
                    <a:pt x="821024" y="990600"/>
                  </a:lnTo>
                  <a:lnTo>
                    <a:pt x="855594" y="1041400"/>
                  </a:lnTo>
                  <a:lnTo>
                    <a:pt x="889581" y="1092200"/>
                  </a:lnTo>
                  <a:lnTo>
                    <a:pt x="922989" y="1143000"/>
                  </a:lnTo>
                  <a:lnTo>
                    <a:pt x="955825" y="1193800"/>
                  </a:lnTo>
                  <a:lnTo>
                    <a:pt x="988092" y="1244600"/>
                  </a:lnTo>
                  <a:lnTo>
                    <a:pt x="1019795" y="1295400"/>
                  </a:lnTo>
                  <a:lnTo>
                    <a:pt x="1050939" y="1346200"/>
                  </a:lnTo>
                  <a:lnTo>
                    <a:pt x="1081528" y="1409700"/>
                  </a:lnTo>
                  <a:lnTo>
                    <a:pt x="1111568" y="1460500"/>
                  </a:lnTo>
                  <a:lnTo>
                    <a:pt x="1141063" y="1511300"/>
                  </a:lnTo>
                  <a:lnTo>
                    <a:pt x="1170017" y="1562100"/>
                  </a:lnTo>
                  <a:lnTo>
                    <a:pt x="1198436" y="1612900"/>
                  </a:lnTo>
                  <a:lnTo>
                    <a:pt x="1226324" y="1676400"/>
                  </a:lnTo>
                  <a:lnTo>
                    <a:pt x="1253686" y="1727200"/>
                  </a:lnTo>
                  <a:lnTo>
                    <a:pt x="1280526" y="1778000"/>
                  </a:lnTo>
                  <a:lnTo>
                    <a:pt x="1306850" y="1828800"/>
                  </a:lnTo>
                  <a:lnTo>
                    <a:pt x="1332662" y="1879600"/>
                  </a:lnTo>
                  <a:lnTo>
                    <a:pt x="1357966" y="1943100"/>
                  </a:lnTo>
                  <a:lnTo>
                    <a:pt x="1382768" y="1993900"/>
                  </a:lnTo>
                  <a:lnTo>
                    <a:pt x="1407072" y="2044700"/>
                  </a:lnTo>
                  <a:lnTo>
                    <a:pt x="1430883" y="2095500"/>
                  </a:lnTo>
                  <a:lnTo>
                    <a:pt x="1454205" y="2159000"/>
                  </a:lnTo>
                  <a:lnTo>
                    <a:pt x="1477044" y="2209800"/>
                  </a:lnTo>
                  <a:lnTo>
                    <a:pt x="1499403" y="2260600"/>
                  </a:lnTo>
                  <a:lnTo>
                    <a:pt x="1521289" y="2311400"/>
                  </a:lnTo>
                  <a:lnTo>
                    <a:pt x="1542704" y="2374900"/>
                  </a:lnTo>
                  <a:lnTo>
                    <a:pt x="1563655" y="2425700"/>
                  </a:lnTo>
                  <a:lnTo>
                    <a:pt x="1584146" y="2476500"/>
                  </a:lnTo>
                  <a:lnTo>
                    <a:pt x="1604182" y="2540000"/>
                  </a:lnTo>
                  <a:lnTo>
                    <a:pt x="1623766" y="2590800"/>
                  </a:lnTo>
                  <a:lnTo>
                    <a:pt x="1642905" y="2641600"/>
                  </a:lnTo>
                  <a:lnTo>
                    <a:pt x="1661602" y="2692400"/>
                  </a:lnTo>
                  <a:lnTo>
                    <a:pt x="1679863" y="2755900"/>
                  </a:lnTo>
                  <a:lnTo>
                    <a:pt x="1697692" y="2806700"/>
                  </a:lnTo>
                  <a:lnTo>
                    <a:pt x="1715094" y="2857500"/>
                  </a:lnTo>
                  <a:lnTo>
                    <a:pt x="1732074" y="2908300"/>
                  </a:lnTo>
                  <a:lnTo>
                    <a:pt x="1748635" y="2971800"/>
                  </a:lnTo>
                  <a:lnTo>
                    <a:pt x="1764784" y="3022600"/>
                  </a:lnTo>
                  <a:lnTo>
                    <a:pt x="1780524" y="3073400"/>
                  </a:lnTo>
                  <a:lnTo>
                    <a:pt x="1795861" y="3124200"/>
                  </a:lnTo>
                  <a:lnTo>
                    <a:pt x="1810799" y="3175000"/>
                  </a:lnTo>
                  <a:lnTo>
                    <a:pt x="1825343" y="3238500"/>
                  </a:lnTo>
                  <a:lnTo>
                    <a:pt x="1839498" y="3289300"/>
                  </a:lnTo>
                  <a:lnTo>
                    <a:pt x="1853268" y="3340100"/>
                  </a:lnTo>
                  <a:lnTo>
                    <a:pt x="1866657" y="3390900"/>
                  </a:lnTo>
                  <a:lnTo>
                    <a:pt x="1879672" y="3441700"/>
                  </a:lnTo>
                  <a:lnTo>
                    <a:pt x="1892316" y="3492500"/>
                  </a:lnTo>
                  <a:lnTo>
                    <a:pt x="1904594" y="3556000"/>
                  </a:lnTo>
                  <a:lnTo>
                    <a:pt x="1916511" y="3606800"/>
                  </a:lnTo>
                  <a:lnTo>
                    <a:pt x="1928072" y="3657600"/>
                  </a:lnTo>
                  <a:lnTo>
                    <a:pt x="1939281" y="3708400"/>
                  </a:lnTo>
                  <a:lnTo>
                    <a:pt x="1950143" y="3759200"/>
                  </a:lnTo>
                  <a:lnTo>
                    <a:pt x="1960662" y="3810000"/>
                  </a:lnTo>
                  <a:lnTo>
                    <a:pt x="1970844" y="3860800"/>
                  </a:lnTo>
                  <a:lnTo>
                    <a:pt x="1980694" y="3911600"/>
                  </a:lnTo>
                  <a:lnTo>
                    <a:pt x="1990215" y="3962400"/>
                  </a:lnTo>
                  <a:lnTo>
                    <a:pt x="1999412" y="4013200"/>
                  </a:lnTo>
                  <a:lnTo>
                    <a:pt x="2008292" y="4064000"/>
                  </a:lnTo>
                  <a:lnTo>
                    <a:pt x="2016857" y="4114800"/>
                  </a:lnTo>
                  <a:lnTo>
                    <a:pt x="2025112" y="4165600"/>
                  </a:lnTo>
                  <a:lnTo>
                    <a:pt x="2033064" y="4216400"/>
                  </a:lnTo>
                  <a:lnTo>
                    <a:pt x="2040715" y="4267200"/>
                  </a:lnTo>
                  <a:lnTo>
                    <a:pt x="2048071" y="4318000"/>
                  </a:lnTo>
                  <a:lnTo>
                    <a:pt x="2055137" y="4368800"/>
                  </a:lnTo>
                  <a:lnTo>
                    <a:pt x="2061917" y="4419600"/>
                  </a:lnTo>
                  <a:lnTo>
                    <a:pt x="2068417" y="4470400"/>
                  </a:lnTo>
                  <a:lnTo>
                    <a:pt x="2074640" y="4521200"/>
                  </a:lnTo>
                  <a:lnTo>
                    <a:pt x="2080591" y="4559300"/>
                  </a:lnTo>
                  <a:lnTo>
                    <a:pt x="2086276" y="4610100"/>
                  </a:lnTo>
                  <a:lnTo>
                    <a:pt x="2091698" y="4660900"/>
                  </a:lnTo>
                  <a:lnTo>
                    <a:pt x="2096863" y="4711700"/>
                  </a:lnTo>
                  <a:lnTo>
                    <a:pt x="2101776" y="4749800"/>
                  </a:lnTo>
                  <a:lnTo>
                    <a:pt x="2106440" y="4800600"/>
                  </a:lnTo>
                  <a:lnTo>
                    <a:pt x="2110861" y="4851400"/>
                  </a:lnTo>
                  <a:lnTo>
                    <a:pt x="2115044" y="4889500"/>
                  </a:lnTo>
                  <a:lnTo>
                    <a:pt x="2118993" y="4940300"/>
                  </a:lnTo>
                  <a:lnTo>
                    <a:pt x="2122712" y="4991100"/>
                  </a:lnTo>
                  <a:lnTo>
                    <a:pt x="2126208" y="5029200"/>
                  </a:lnTo>
                  <a:lnTo>
                    <a:pt x="2129483" y="5080000"/>
                  </a:lnTo>
                  <a:lnTo>
                    <a:pt x="2132544" y="5118100"/>
                  </a:lnTo>
                  <a:lnTo>
                    <a:pt x="2135395" y="5168900"/>
                  </a:lnTo>
                  <a:lnTo>
                    <a:pt x="2138039" y="5207000"/>
                  </a:lnTo>
                  <a:lnTo>
                    <a:pt x="2140483" y="5257800"/>
                  </a:lnTo>
                  <a:lnTo>
                    <a:pt x="2142731" y="5295900"/>
                  </a:lnTo>
                  <a:lnTo>
                    <a:pt x="2144788" y="5334000"/>
                  </a:lnTo>
                  <a:lnTo>
                    <a:pt x="2146658" y="5384800"/>
                  </a:lnTo>
                  <a:lnTo>
                    <a:pt x="2148346" y="5422900"/>
                  </a:lnTo>
                  <a:lnTo>
                    <a:pt x="2149857" y="5461000"/>
                  </a:lnTo>
                  <a:lnTo>
                    <a:pt x="2151195" y="5499100"/>
                  </a:lnTo>
                  <a:lnTo>
                    <a:pt x="2152365" y="5549900"/>
                  </a:lnTo>
                  <a:lnTo>
                    <a:pt x="2153372" y="5588000"/>
                  </a:lnTo>
                  <a:lnTo>
                    <a:pt x="2154221" y="5626100"/>
                  </a:lnTo>
                  <a:lnTo>
                    <a:pt x="2154916" y="5664200"/>
                  </a:lnTo>
                  <a:lnTo>
                    <a:pt x="2155463" y="5702300"/>
                  </a:lnTo>
                  <a:lnTo>
                    <a:pt x="2155865" y="5740400"/>
                  </a:lnTo>
                  <a:lnTo>
                    <a:pt x="2156127" y="5778500"/>
                  </a:lnTo>
                  <a:lnTo>
                    <a:pt x="2156210" y="5867400"/>
                  </a:lnTo>
                  <a:lnTo>
                    <a:pt x="2156124" y="5892800"/>
                  </a:lnTo>
                  <a:lnTo>
                    <a:pt x="2155876" y="5930900"/>
                  </a:lnTo>
                  <a:lnTo>
                    <a:pt x="2155511" y="5956300"/>
                  </a:lnTo>
                  <a:lnTo>
                    <a:pt x="2155036" y="5994400"/>
                  </a:lnTo>
                  <a:lnTo>
                    <a:pt x="2154454" y="6032500"/>
                  </a:lnTo>
                  <a:lnTo>
                    <a:pt x="2153769" y="6057900"/>
                  </a:lnTo>
                  <a:lnTo>
                    <a:pt x="2152988" y="6096000"/>
                  </a:lnTo>
                  <a:lnTo>
                    <a:pt x="2152115" y="6134100"/>
                  </a:lnTo>
                  <a:lnTo>
                    <a:pt x="2151154" y="6159500"/>
                  </a:lnTo>
                  <a:lnTo>
                    <a:pt x="2150110" y="6197600"/>
                  </a:lnTo>
                  <a:lnTo>
                    <a:pt x="2148987" y="6223000"/>
                  </a:lnTo>
                  <a:lnTo>
                    <a:pt x="2147792" y="6248400"/>
                  </a:lnTo>
                  <a:lnTo>
                    <a:pt x="2146527" y="6286500"/>
                  </a:lnTo>
                  <a:lnTo>
                    <a:pt x="2145198" y="6311900"/>
                  </a:lnTo>
                  <a:lnTo>
                    <a:pt x="2143810" y="6337300"/>
                  </a:lnTo>
                  <a:lnTo>
                    <a:pt x="2142367" y="6375400"/>
                  </a:lnTo>
                  <a:lnTo>
                    <a:pt x="2139337" y="6426200"/>
                  </a:lnTo>
                  <a:lnTo>
                    <a:pt x="2136144" y="6477000"/>
                  </a:lnTo>
                  <a:lnTo>
                    <a:pt x="2131134" y="6553200"/>
                  </a:lnTo>
                  <a:lnTo>
                    <a:pt x="2127701" y="6591300"/>
                  </a:lnTo>
                  <a:lnTo>
                    <a:pt x="2124238" y="6642100"/>
                  </a:lnTo>
                  <a:lnTo>
                    <a:pt x="2122507" y="6654800"/>
                  </a:lnTo>
                  <a:lnTo>
                    <a:pt x="2120783" y="6680200"/>
                  </a:lnTo>
                  <a:lnTo>
                    <a:pt x="2119070" y="6692900"/>
                  </a:lnTo>
                  <a:lnTo>
                    <a:pt x="2117373" y="6718300"/>
                  </a:lnTo>
                  <a:lnTo>
                    <a:pt x="2114046" y="6743700"/>
                  </a:lnTo>
                  <a:lnTo>
                    <a:pt x="2112426" y="6769100"/>
                  </a:lnTo>
                  <a:lnTo>
                    <a:pt x="2110841" y="6781800"/>
                  </a:lnTo>
                  <a:lnTo>
                    <a:pt x="2109295" y="6794500"/>
                  </a:lnTo>
                  <a:lnTo>
                    <a:pt x="2107793" y="6807200"/>
                  </a:lnTo>
                  <a:lnTo>
                    <a:pt x="2106341" y="6819900"/>
                  </a:lnTo>
                  <a:lnTo>
                    <a:pt x="2102924" y="6845300"/>
                  </a:lnTo>
                  <a:lnTo>
                    <a:pt x="2131402" y="6845300"/>
                  </a:lnTo>
                  <a:lnTo>
                    <a:pt x="2131947" y="6832600"/>
                  </a:lnTo>
                  <a:lnTo>
                    <a:pt x="2133446" y="6832600"/>
                  </a:lnTo>
                  <a:lnTo>
                    <a:pt x="2136447" y="6794500"/>
                  </a:lnTo>
                  <a:lnTo>
                    <a:pt x="2139606" y="6769100"/>
                  </a:lnTo>
                  <a:lnTo>
                    <a:pt x="2142887" y="6731000"/>
                  </a:lnTo>
                  <a:lnTo>
                    <a:pt x="2146255" y="6705600"/>
                  </a:lnTo>
                  <a:lnTo>
                    <a:pt x="2149675" y="6654800"/>
                  </a:lnTo>
                  <a:lnTo>
                    <a:pt x="2156533" y="6578600"/>
                  </a:lnTo>
                  <a:lnTo>
                    <a:pt x="2159901" y="6527800"/>
                  </a:lnTo>
                  <a:lnTo>
                    <a:pt x="2163181" y="6477000"/>
                  </a:lnTo>
                  <a:lnTo>
                    <a:pt x="2166339" y="6426200"/>
                  </a:lnTo>
                  <a:lnTo>
                    <a:pt x="2169339" y="6375400"/>
                  </a:lnTo>
                  <a:lnTo>
                    <a:pt x="2172147" y="6324600"/>
                  </a:lnTo>
                  <a:lnTo>
                    <a:pt x="2174729" y="6261100"/>
                  </a:lnTo>
                  <a:lnTo>
                    <a:pt x="2177047" y="6197600"/>
                  </a:lnTo>
                  <a:lnTo>
                    <a:pt x="2179069" y="6146800"/>
                  </a:lnTo>
                  <a:lnTo>
                    <a:pt x="2180759" y="6070600"/>
                  </a:lnTo>
                  <a:lnTo>
                    <a:pt x="2182082" y="6007100"/>
                  </a:lnTo>
                  <a:lnTo>
                    <a:pt x="2183003" y="5943600"/>
                  </a:lnTo>
                  <a:lnTo>
                    <a:pt x="2183488" y="5867400"/>
                  </a:lnTo>
                  <a:lnTo>
                    <a:pt x="2183380" y="5778500"/>
                  </a:lnTo>
                  <a:lnTo>
                    <a:pt x="2183200" y="5740400"/>
                  </a:lnTo>
                  <a:lnTo>
                    <a:pt x="2182650" y="5689600"/>
                  </a:lnTo>
                  <a:lnTo>
                    <a:pt x="2181850" y="5638800"/>
                  </a:lnTo>
                  <a:lnTo>
                    <a:pt x="2180801" y="5588000"/>
                  </a:lnTo>
                  <a:lnTo>
                    <a:pt x="2179503" y="5537200"/>
                  </a:lnTo>
                  <a:lnTo>
                    <a:pt x="2177957" y="5486400"/>
                  </a:lnTo>
                  <a:lnTo>
                    <a:pt x="2176162" y="5435600"/>
                  </a:lnTo>
                  <a:lnTo>
                    <a:pt x="2174118" y="5384800"/>
                  </a:lnTo>
                  <a:lnTo>
                    <a:pt x="2171827" y="5334000"/>
                  </a:lnTo>
                  <a:lnTo>
                    <a:pt x="2169288" y="5283200"/>
                  </a:lnTo>
                  <a:lnTo>
                    <a:pt x="2166502" y="5232400"/>
                  </a:lnTo>
                  <a:lnTo>
                    <a:pt x="2163469" y="5181600"/>
                  </a:lnTo>
                  <a:lnTo>
                    <a:pt x="2160189" y="5130800"/>
                  </a:lnTo>
                  <a:lnTo>
                    <a:pt x="2156663" y="5067300"/>
                  </a:lnTo>
                  <a:lnTo>
                    <a:pt x="2152890" y="5016500"/>
                  </a:lnTo>
                  <a:lnTo>
                    <a:pt x="2148872" y="4965700"/>
                  </a:lnTo>
                  <a:lnTo>
                    <a:pt x="2144608" y="4914900"/>
                  </a:lnTo>
                  <a:lnTo>
                    <a:pt x="2140098" y="4864100"/>
                  </a:lnTo>
                  <a:lnTo>
                    <a:pt x="2135344" y="4813300"/>
                  </a:lnTo>
                  <a:lnTo>
                    <a:pt x="2130345" y="4762500"/>
                  </a:lnTo>
                  <a:lnTo>
                    <a:pt x="2125101" y="4711700"/>
                  </a:lnTo>
                  <a:lnTo>
                    <a:pt x="2119614" y="4660900"/>
                  </a:lnTo>
                  <a:lnTo>
                    <a:pt x="2113882" y="4610100"/>
                  </a:lnTo>
                  <a:lnTo>
                    <a:pt x="2107907" y="4559300"/>
                  </a:lnTo>
                  <a:lnTo>
                    <a:pt x="2101689" y="4508500"/>
                  </a:lnTo>
                  <a:lnTo>
                    <a:pt x="2095227" y="4457700"/>
                  </a:lnTo>
                  <a:lnTo>
                    <a:pt x="2088523" y="4406900"/>
                  </a:lnTo>
                  <a:lnTo>
                    <a:pt x="2081576" y="4356100"/>
                  </a:lnTo>
                  <a:lnTo>
                    <a:pt x="2074387" y="4318000"/>
                  </a:lnTo>
                  <a:lnTo>
                    <a:pt x="2066957" y="4267200"/>
                  </a:lnTo>
                  <a:lnTo>
                    <a:pt x="2059284" y="4216400"/>
                  </a:lnTo>
                  <a:lnTo>
                    <a:pt x="2051371" y="4165600"/>
                  </a:lnTo>
                  <a:lnTo>
                    <a:pt x="2043216" y="4114800"/>
                  </a:lnTo>
                  <a:lnTo>
                    <a:pt x="2034821" y="4064000"/>
                  </a:lnTo>
                  <a:lnTo>
                    <a:pt x="2026185" y="4013200"/>
                  </a:lnTo>
                  <a:lnTo>
                    <a:pt x="2016822" y="3962400"/>
                  </a:lnTo>
                  <a:lnTo>
                    <a:pt x="2007195" y="3911600"/>
                  </a:lnTo>
                  <a:lnTo>
                    <a:pt x="1997304" y="3860800"/>
                  </a:lnTo>
                  <a:lnTo>
                    <a:pt x="1987150" y="3810000"/>
                  </a:lnTo>
                  <a:lnTo>
                    <a:pt x="1976733" y="3759200"/>
                  </a:lnTo>
                  <a:lnTo>
                    <a:pt x="1966054" y="3708400"/>
                  </a:lnTo>
                  <a:lnTo>
                    <a:pt x="1955112" y="3657600"/>
                  </a:lnTo>
                  <a:lnTo>
                    <a:pt x="1943909" y="3606800"/>
                  </a:lnTo>
                  <a:lnTo>
                    <a:pt x="1932445" y="3556000"/>
                  </a:lnTo>
                  <a:lnTo>
                    <a:pt x="1920720" y="3505200"/>
                  </a:lnTo>
                  <a:lnTo>
                    <a:pt x="1908734" y="3454400"/>
                  </a:lnTo>
                  <a:lnTo>
                    <a:pt x="1896488" y="3403600"/>
                  </a:lnTo>
                  <a:lnTo>
                    <a:pt x="1883983" y="3352800"/>
                  </a:lnTo>
                  <a:lnTo>
                    <a:pt x="1871218" y="3302000"/>
                  </a:lnTo>
                  <a:lnTo>
                    <a:pt x="1858194" y="3251200"/>
                  </a:lnTo>
                  <a:lnTo>
                    <a:pt x="1844912" y="3200400"/>
                  </a:lnTo>
                  <a:lnTo>
                    <a:pt x="1831372" y="3149600"/>
                  </a:lnTo>
                  <a:lnTo>
                    <a:pt x="1817574" y="3098800"/>
                  </a:lnTo>
                  <a:lnTo>
                    <a:pt x="1803519" y="3060700"/>
                  </a:lnTo>
                  <a:lnTo>
                    <a:pt x="1789207" y="3009900"/>
                  </a:lnTo>
                  <a:lnTo>
                    <a:pt x="1774638" y="2959100"/>
                  </a:lnTo>
                  <a:lnTo>
                    <a:pt x="1759813" y="2908300"/>
                  </a:lnTo>
                  <a:lnTo>
                    <a:pt x="1744733" y="2857500"/>
                  </a:lnTo>
                  <a:lnTo>
                    <a:pt x="1729397" y="2819400"/>
                  </a:lnTo>
                  <a:lnTo>
                    <a:pt x="1713807" y="2768600"/>
                  </a:lnTo>
                  <a:lnTo>
                    <a:pt x="1697962" y="2717800"/>
                  </a:lnTo>
                  <a:lnTo>
                    <a:pt x="1681862" y="2667000"/>
                  </a:lnTo>
                  <a:lnTo>
                    <a:pt x="1665510" y="2628900"/>
                  </a:lnTo>
                  <a:lnTo>
                    <a:pt x="1648903" y="2578100"/>
                  </a:lnTo>
                  <a:lnTo>
                    <a:pt x="1632044" y="2527300"/>
                  </a:lnTo>
                  <a:lnTo>
                    <a:pt x="1614933" y="2489200"/>
                  </a:lnTo>
                  <a:lnTo>
                    <a:pt x="1597569" y="2438400"/>
                  </a:lnTo>
                  <a:lnTo>
                    <a:pt x="1579953" y="2387600"/>
                  </a:lnTo>
                  <a:lnTo>
                    <a:pt x="1562087" y="2349500"/>
                  </a:lnTo>
                  <a:lnTo>
                    <a:pt x="1543969" y="2298700"/>
                  </a:lnTo>
                  <a:lnTo>
                    <a:pt x="1525601" y="2260600"/>
                  </a:lnTo>
                  <a:lnTo>
                    <a:pt x="1506982" y="2209800"/>
                  </a:lnTo>
                  <a:lnTo>
                    <a:pt x="1488114" y="2171700"/>
                  </a:lnTo>
                  <a:lnTo>
                    <a:pt x="1468997" y="2120900"/>
                  </a:lnTo>
                  <a:lnTo>
                    <a:pt x="1449631" y="2070100"/>
                  </a:lnTo>
                  <a:lnTo>
                    <a:pt x="1430016" y="2032000"/>
                  </a:lnTo>
                  <a:lnTo>
                    <a:pt x="1410153" y="1993900"/>
                  </a:lnTo>
                  <a:lnTo>
                    <a:pt x="1390042" y="1943100"/>
                  </a:lnTo>
                  <a:lnTo>
                    <a:pt x="1369684" y="1905000"/>
                  </a:lnTo>
                  <a:lnTo>
                    <a:pt x="1347345" y="1854200"/>
                  </a:lnTo>
                  <a:lnTo>
                    <a:pt x="1324706" y="1803400"/>
                  </a:lnTo>
                  <a:lnTo>
                    <a:pt x="1301768" y="1765300"/>
                  </a:lnTo>
                  <a:lnTo>
                    <a:pt x="1278532" y="1714500"/>
                  </a:lnTo>
                  <a:lnTo>
                    <a:pt x="1254997" y="1663700"/>
                  </a:lnTo>
                  <a:lnTo>
                    <a:pt x="1231165" y="1625600"/>
                  </a:lnTo>
                  <a:lnTo>
                    <a:pt x="1207037" y="1574800"/>
                  </a:lnTo>
                  <a:lnTo>
                    <a:pt x="1182613" y="1536700"/>
                  </a:lnTo>
                  <a:lnTo>
                    <a:pt x="1157894" y="1485900"/>
                  </a:lnTo>
                  <a:lnTo>
                    <a:pt x="1132880" y="1435100"/>
                  </a:lnTo>
                  <a:lnTo>
                    <a:pt x="1107574" y="1397000"/>
                  </a:lnTo>
                  <a:lnTo>
                    <a:pt x="1081974" y="1346200"/>
                  </a:lnTo>
                  <a:lnTo>
                    <a:pt x="1056082" y="1308100"/>
                  </a:lnTo>
                  <a:lnTo>
                    <a:pt x="1029899" y="1270000"/>
                  </a:lnTo>
                  <a:lnTo>
                    <a:pt x="1003425" y="1219200"/>
                  </a:lnTo>
                  <a:lnTo>
                    <a:pt x="976661" y="1181100"/>
                  </a:lnTo>
                  <a:lnTo>
                    <a:pt x="949608" y="1130300"/>
                  </a:lnTo>
                  <a:lnTo>
                    <a:pt x="922267" y="1092200"/>
                  </a:lnTo>
                  <a:lnTo>
                    <a:pt x="894638" y="1054100"/>
                  </a:lnTo>
                  <a:lnTo>
                    <a:pt x="866721" y="1003300"/>
                  </a:lnTo>
                  <a:lnTo>
                    <a:pt x="838519" y="965200"/>
                  </a:lnTo>
                  <a:lnTo>
                    <a:pt x="810030" y="927100"/>
                  </a:lnTo>
                  <a:lnTo>
                    <a:pt x="781257" y="876300"/>
                  </a:lnTo>
                  <a:lnTo>
                    <a:pt x="752200" y="838200"/>
                  </a:lnTo>
                  <a:lnTo>
                    <a:pt x="722859" y="800100"/>
                  </a:lnTo>
                  <a:lnTo>
                    <a:pt x="693236" y="762000"/>
                  </a:lnTo>
                  <a:lnTo>
                    <a:pt x="663331" y="723900"/>
                  </a:lnTo>
                  <a:lnTo>
                    <a:pt x="633144" y="673100"/>
                  </a:lnTo>
                  <a:lnTo>
                    <a:pt x="602677" y="635000"/>
                  </a:lnTo>
                  <a:lnTo>
                    <a:pt x="571930" y="596900"/>
                  </a:lnTo>
                  <a:lnTo>
                    <a:pt x="540904" y="558800"/>
                  </a:lnTo>
                  <a:lnTo>
                    <a:pt x="509600" y="520700"/>
                  </a:lnTo>
                  <a:lnTo>
                    <a:pt x="478018" y="482600"/>
                  </a:lnTo>
                  <a:lnTo>
                    <a:pt x="446159" y="444500"/>
                  </a:lnTo>
                  <a:lnTo>
                    <a:pt x="414024" y="406400"/>
                  </a:lnTo>
                  <a:lnTo>
                    <a:pt x="348929" y="330200"/>
                  </a:lnTo>
                  <a:lnTo>
                    <a:pt x="282737" y="254000"/>
                  </a:lnTo>
                  <a:lnTo>
                    <a:pt x="215455" y="177800"/>
                  </a:lnTo>
                  <a:lnTo>
                    <a:pt x="181407" y="152400"/>
                  </a:lnTo>
                  <a:lnTo>
                    <a:pt x="112500" y="76200"/>
                  </a:lnTo>
                  <a:lnTo>
                    <a:pt x="42518" y="0"/>
                  </a:lnTo>
                  <a:close/>
                </a:path>
                <a:path w="3027679" h="6845300">
                  <a:moveTo>
                    <a:pt x="3027594" y="0"/>
                  </a:moveTo>
                  <a:lnTo>
                    <a:pt x="3027594" y="5562600"/>
                  </a:lnTo>
                  <a:lnTo>
                    <a:pt x="2981376" y="5651500"/>
                  </a:lnTo>
                  <a:lnTo>
                    <a:pt x="2946816" y="5715000"/>
                  </a:lnTo>
                  <a:lnTo>
                    <a:pt x="2911508" y="5765800"/>
                  </a:lnTo>
                  <a:lnTo>
                    <a:pt x="2885404" y="5816600"/>
                  </a:lnTo>
                  <a:lnTo>
                    <a:pt x="2858972" y="5854700"/>
                  </a:lnTo>
                  <a:lnTo>
                    <a:pt x="2832213" y="5905500"/>
                  </a:lnTo>
                  <a:lnTo>
                    <a:pt x="2805129" y="5943600"/>
                  </a:lnTo>
                  <a:lnTo>
                    <a:pt x="2777724" y="5994400"/>
                  </a:lnTo>
                  <a:lnTo>
                    <a:pt x="2749998" y="6032500"/>
                  </a:lnTo>
                  <a:lnTo>
                    <a:pt x="2721953" y="6070600"/>
                  </a:lnTo>
                  <a:lnTo>
                    <a:pt x="2693593" y="6121400"/>
                  </a:lnTo>
                  <a:lnTo>
                    <a:pt x="2664918" y="6159500"/>
                  </a:lnTo>
                  <a:lnTo>
                    <a:pt x="2635932" y="6197600"/>
                  </a:lnTo>
                  <a:lnTo>
                    <a:pt x="2606635" y="6248400"/>
                  </a:lnTo>
                  <a:lnTo>
                    <a:pt x="2577031" y="6286500"/>
                  </a:lnTo>
                  <a:lnTo>
                    <a:pt x="2547121" y="6324600"/>
                  </a:lnTo>
                  <a:lnTo>
                    <a:pt x="2516907" y="6375400"/>
                  </a:lnTo>
                  <a:lnTo>
                    <a:pt x="2486392" y="6413500"/>
                  </a:lnTo>
                  <a:lnTo>
                    <a:pt x="2455577" y="6451600"/>
                  </a:lnTo>
                  <a:lnTo>
                    <a:pt x="2424464" y="6489700"/>
                  </a:lnTo>
                  <a:lnTo>
                    <a:pt x="2393056" y="6527800"/>
                  </a:lnTo>
                  <a:lnTo>
                    <a:pt x="2361354" y="6565900"/>
                  </a:lnTo>
                  <a:lnTo>
                    <a:pt x="2329361" y="6616700"/>
                  </a:lnTo>
                  <a:lnTo>
                    <a:pt x="2297079" y="6654800"/>
                  </a:lnTo>
                  <a:lnTo>
                    <a:pt x="2264510" y="6692900"/>
                  </a:lnTo>
                  <a:lnTo>
                    <a:pt x="2198518" y="6769100"/>
                  </a:lnTo>
                  <a:lnTo>
                    <a:pt x="2131402" y="6845300"/>
                  </a:lnTo>
                  <a:lnTo>
                    <a:pt x="2165153" y="6845300"/>
                  </a:lnTo>
                  <a:lnTo>
                    <a:pt x="2199782" y="6807200"/>
                  </a:lnTo>
                  <a:lnTo>
                    <a:pt x="2233992" y="6769100"/>
                  </a:lnTo>
                  <a:lnTo>
                    <a:pt x="2267784" y="6731000"/>
                  </a:lnTo>
                  <a:lnTo>
                    <a:pt x="2301161" y="6692900"/>
                  </a:lnTo>
                  <a:lnTo>
                    <a:pt x="2334125" y="6654800"/>
                  </a:lnTo>
                  <a:lnTo>
                    <a:pt x="2366679" y="6604000"/>
                  </a:lnTo>
                  <a:lnTo>
                    <a:pt x="2398824" y="6565900"/>
                  </a:lnTo>
                  <a:lnTo>
                    <a:pt x="2430564" y="6527800"/>
                  </a:lnTo>
                  <a:lnTo>
                    <a:pt x="2461899" y="6489700"/>
                  </a:lnTo>
                  <a:lnTo>
                    <a:pt x="2492833" y="6451600"/>
                  </a:lnTo>
                  <a:lnTo>
                    <a:pt x="2523368" y="6413500"/>
                  </a:lnTo>
                  <a:lnTo>
                    <a:pt x="2553506" y="6362700"/>
                  </a:lnTo>
                  <a:lnTo>
                    <a:pt x="2583248" y="6324600"/>
                  </a:lnTo>
                  <a:lnTo>
                    <a:pt x="2612599" y="6286500"/>
                  </a:lnTo>
                  <a:lnTo>
                    <a:pt x="2641559" y="6248400"/>
                  </a:lnTo>
                  <a:lnTo>
                    <a:pt x="2670131" y="6197600"/>
                  </a:lnTo>
                  <a:lnTo>
                    <a:pt x="2698317" y="6159500"/>
                  </a:lnTo>
                  <a:lnTo>
                    <a:pt x="2726119" y="6121400"/>
                  </a:lnTo>
                  <a:lnTo>
                    <a:pt x="2753541" y="6083300"/>
                  </a:lnTo>
                  <a:lnTo>
                    <a:pt x="2780583" y="6032500"/>
                  </a:lnTo>
                  <a:lnTo>
                    <a:pt x="2807248" y="5994400"/>
                  </a:lnTo>
                  <a:lnTo>
                    <a:pt x="2833539" y="5956300"/>
                  </a:lnTo>
                  <a:lnTo>
                    <a:pt x="2859458" y="5905500"/>
                  </a:lnTo>
                  <a:lnTo>
                    <a:pt x="2885007" y="5867400"/>
                  </a:lnTo>
                  <a:lnTo>
                    <a:pt x="2910188" y="5829300"/>
                  </a:lnTo>
                  <a:lnTo>
                    <a:pt x="2935003" y="5778500"/>
                  </a:lnTo>
                  <a:lnTo>
                    <a:pt x="2970583" y="5727700"/>
                  </a:lnTo>
                  <a:lnTo>
                    <a:pt x="3005404" y="5664200"/>
                  </a:lnTo>
                  <a:lnTo>
                    <a:pt x="3027594" y="5626100"/>
                  </a:lnTo>
                  <a:lnTo>
                    <a:pt x="3027594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9879315" y="4561729"/>
              <a:ext cx="1337945" cy="2296795"/>
            </a:xfrm>
            <a:custGeom>
              <a:avLst/>
              <a:gdLst/>
              <a:ahLst/>
              <a:cxnLst/>
              <a:rect l="l" t="t" r="r" b="b"/>
              <a:pathLst>
                <a:path w="1337945" h="2296795">
                  <a:moveTo>
                    <a:pt x="1252502" y="0"/>
                  </a:moveTo>
                  <a:lnTo>
                    <a:pt x="1234796" y="48357"/>
                  </a:lnTo>
                  <a:lnTo>
                    <a:pt x="1219742" y="88337"/>
                  </a:lnTo>
                  <a:lnTo>
                    <a:pt x="1202051" y="134245"/>
                  </a:lnTo>
                  <a:lnTo>
                    <a:pt x="1181689" y="185856"/>
                  </a:lnTo>
                  <a:lnTo>
                    <a:pt x="1158626" y="242943"/>
                  </a:lnTo>
                  <a:lnTo>
                    <a:pt x="1132828" y="305281"/>
                  </a:lnTo>
                  <a:lnTo>
                    <a:pt x="1104262" y="372642"/>
                  </a:lnTo>
                  <a:lnTo>
                    <a:pt x="1088932" y="408136"/>
                  </a:lnTo>
                  <a:lnTo>
                    <a:pt x="1072897" y="444802"/>
                  </a:lnTo>
                  <a:lnTo>
                    <a:pt x="1056155" y="482610"/>
                  </a:lnTo>
                  <a:lnTo>
                    <a:pt x="1038701" y="521533"/>
                  </a:lnTo>
                  <a:lnTo>
                    <a:pt x="1020530" y="561542"/>
                  </a:lnTo>
                  <a:lnTo>
                    <a:pt x="1001639" y="602609"/>
                  </a:lnTo>
                  <a:lnTo>
                    <a:pt x="982025" y="644707"/>
                  </a:lnTo>
                  <a:lnTo>
                    <a:pt x="961681" y="687805"/>
                  </a:lnTo>
                  <a:lnTo>
                    <a:pt x="940606" y="731877"/>
                  </a:lnTo>
                  <a:lnTo>
                    <a:pt x="918794" y="776894"/>
                  </a:lnTo>
                  <a:lnTo>
                    <a:pt x="896242" y="822828"/>
                  </a:lnTo>
                  <a:lnTo>
                    <a:pt x="872946" y="869650"/>
                  </a:lnTo>
                  <a:lnTo>
                    <a:pt x="848901" y="917332"/>
                  </a:lnTo>
                  <a:lnTo>
                    <a:pt x="824103" y="965847"/>
                  </a:lnTo>
                  <a:lnTo>
                    <a:pt x="798549" y="1015164"/>
                  </a:lnTo>
                  <a:lnTo>
                    <a:pt x="772234" y="1065258"/>
                  </a:lnTo>
                  <a:lnTo>
                    <a:pt x="745155" y="1116098"/>
                  </a:lnTo>
                  <a:lnTo>
                    <a:pt x="717307" y="1167657"/>
                  </a:lnTo>
                  <a:lnTo>
                    <a:pt x="688686" y="1219907"/>
                  </a:lnTo>
                  <a:lnTo>
                    <a:pt x="659288" y="1272818"/>
                  </a:lnTo>
                  <a:lnTo>
                    <a:pt x="629109" y="1326364"/>
                  </a:lnTo>
                  <a:lnTo>
                    <a:pt x="598145" y="1380516"/>
                  </a:lnTo>
                  <a:lnTo>
                    <a:pt x="566393" y="1435245"/>
                  </a:lnTo>
                  <a:lnTo>
                    <a:pt x="533847" y="1490523"/>
                  </a:lnTo>
                  <a:lnTo>
                    <a:pt x="500504" y="1546322"/>
                  </a:lnTo>
                  <a:lnTo>
                    <a:pt x="466360" y="1602614"/>
                  </a:lnTo>
                  <a:lnTo>
                    <a:pt x="431411" y="1659370"/>
                  </a:lnTo>
                  <a:lnTo>
                    <a:pt x="395653" y="1716562"/>
                  </a:lnTo>
                  <a:lnTo>
                    <a:pt x="359081" y="1774162"/>
                  </a:lnTo>
                  <a:lnTo>
                    <a:pt x="321692" y="1832141"/>
                  </a:lnTo>
                  <a:lnTo>
                    <a:pt x="283481" y="1890472"/>
                  </a:lnTo>
                  <a:lnTo>
                    <a:pt x="244446" y="1949125"/>
                  </a:lnTo>
                  <a:lnTo>
                    <a:pt x="204580" y="2008074"/>
                  </a:lnTo>
                  <a:lnTo>
                    <a:pt x="163881" y="2067288"/>
                  </a:lnTo>
                  <a:lnTo>
                    <a:pt x="122345" y="2126741"/>
                  </a:lnTo>
                  <a:lnTo>
                    <a:pt x="79966" y="2186404"/>
                  </a:lnTo>
                  <a:lnTo>
                    <a:pt x="36742" y="2246248"/>
                  </a:lnTo>
                  <a:lnTo>
                    <a:pt x="0" y="2296266"/>
                  </a:lnTo>
                  <a:lnTo>
                    <a:pt x="1285512" y="2296266"/>
                  </a:lnTo>
                  <a:lnTo>
                    <a:pt x="1292451" y="2234701"/>
                  </a:lnTo>
                  <a:lnTo>
                    <a:pt x="1298015" y="2180315"/>
                  </a:lnTo>
                  <a:lnTo>
                    <a:pt x="1303843" y="2117872"/>
                  </a:lnTo>
                  <a:lnTo>
                    <a:pt x="1309747" y="2047638"/>
                  </a:lnTo>
                  <a:lnTo>
                    <a:pt x="1312785" y="2008074"/>
                  </a:lnTo>
                  <a:lnTo>
                    <a:pt x="1315541" y="1969876"/>
                  </a:lnTo>
                  <a:lnTo>
                    <a:pt x="1318339" y="1928256"/>
                  </a:lnTo>
                  <a:lnTo>
                    <a:pt x="1321040" y="1884854"/>
                  </a:lnTo>
                  <a:lnTo>
                    <a:pt x="1323621" y="1839703"/>
                  </a:lnTo>
                  <a:lnTo>
                    <a:pt x="1326057" y="1792835"/>
                  </a:lnTo>
                  <a:lnTo>
                    <a:pt x="1328327" y="1744285"/>
                  </a:lnTo>
                  <a:lnTo>
                    <a:pt x="1330406" y="1694086"/>
                  </a:lnTo>
                  <a:lnTo>
                    <a:pt x="1332272" y="1642270"/>
                  </a:lnTo>
                  <a:lnTo>
                    <a:pt x="1333901" y="1588871"/>
                  </a:lnTo>
                  <a:lnTo>
                    <a:pt x="1335271" y="1533922"/>
                  </a:lnTo>
                  <a:lnTo>
                    <a:pt x="1336356" y="1477457"/>
                  </a:lnTo>
                  <a:lnTo>
                    <a:pt x="1337135" y="1419507"/>
                  </a:lnTo>
                  <a:lnTo>
                    <a:pt x="1337585" y="1360107"/>
                  </a:lnTo>
                  <a:lnTo>
                    <a:pt x="1337562" y="1272818"/>
                  </a:lnTo>
                  <a:lnTo>
                    <a:pt x="1336721" y="1173535"/>
                  </a:lnTo>
                  <a:lnTo>
                    <a:pt x="1335618" y="1108664"/>
                  </a:lnTo>
                  <a:lnTo>
                    <a:pt x="1334069" y="1042508"/>
                  </a:lnTo>
                  <a:lnTo>
                    <a:pt x="1332050" y="975101"/>
                  </a:lnTo>
                  <a:lnTo>
                    <a:pt x="1329539" y="906476"/>
                  </a:lnTo>
                  <a:lnTo>
                    <a:pt x="1326512" y="836665"/>
                  </a:lnTo>
                  <a:lnTo>
                    <a:pt x="1322946" y="765702"/>
                  </a:lnTo>
                  <a:lnTo>
                    <a:pt x="1318817" y="693620"/>
                  </a:lnTo>
                  <a:lnTo>
                    <a:pt x="1314102" y="620452"/>
                  </a:lnTo>
                  <a:lnTo>
                    <a:pt x="1308778" y="546231"/>
                  </a:lnTo>
                  <a:lnTo>
                    <a:pt x="1302822" y="470991"/>
                  </a:lnTo>
                  <a:lnTo>
                    <a:pt x="1296210" y="394765"/>
                  </a:lnTo>
                  <a:lnTo>
                    <a:pt x="1288919" y="317586"/>
                  </a:lnTo>
                  <a:lnTo>
                    <a:pt x="1280926" y="239486"/>
                  </a:lnTo>
                  <a:lnTo>
                    <a:pt x="1272208" y="160500"/>
                  </a:lnTo>
                  <a:lnTo>
                    <a:pt x="1262741" y="80660"/>
                  </a:lnTo>
                  <a:lnTo>
                    <a:pt x="125250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" name="object 9"/>
            <p:cNvSpPr/>
            <p:nvPr/>
          </p:nvSpPr>
          <p:spPr>
            <a:xfrm>
              <a:off x="9862259" y="4503006"/>
              <a:ext cx="1362075" cy="2355215"/>
            </a:xfrm>
            <a:custGeom>
              <a:avLst/>
              <a:gdLst/>
              <a:ahLst/>
              <a:cxnLst/>
              <a:rect l="l" t="t" r="r" b="b"/>
              <a:pathLst>
                <a:path w="1362075" h="2355215">
                  <a:moveTo>
                    <a:pt x="1275211" y="0"/>
                  </a:moveTo>
                  <a:lnTo>
                    <a:pt x="1261098" y="40900"/>
                  </a:lnTo>
                  <a:lnTo>
                    <a:pt x="1243494" y="89457"/>
                  </a:lnTo>
                  <a:lnTo>
                    <a:pt x="1227758" y="131522"/>
                  </a:lnTo>
                  <a:lnTo>
                    <a:pt x="1208774" y="180976"/>
                  </a:lnTo>
                  <a:lnTo>
                    <a:pt x="1186501" y="237507"/>
                  </a:lnTo>
                  <a:lnTo>
                    <a:pt x="1160897" y="300802"/>
                  </a:lnTo>
                  <a:lnTo>
                    <a:pt x="1131923" y="370547"/>
                  </a:lnTo>
                  <a:lnTo>
                    <a:pt x="1116158" y="407742"/>
                  </a:lnTo>
                  <a:lnTo>
                    <a:pt x="1099536" y="446432"/>
                  </a:lnTo>
                  <a:lnTo>
                    <a:pt x="1082050" y="486578"/>
                  </a:lnTo>
                  <a:lnTo>
                    <a:pt x="1063695" y="528141"/>
                  </a:lnTo>
                  <a:lnTo>
                    <a:pt x="1044468" y="571083"/>
                  </a:lnTo>
                  <a:lnTo>
                    <a:pt x="1024361" y="615363"/>
                  </a:lnTo>
                  <a:lnTo>
                    <a:pt x="1003370" y="660944"/>
                  </a:lnTo>
                  <a:lnTo>
                    <a:pt x="981491" y="707785"/>
                  </a:lnTo>
                  <a:lnTo>
                    <a:pt x="958717" y="755848"/>
                  </a:lnTo>
                  <a:lnTo>
                    <a:pt x="935044" y="805094"/>
                  </a:lnTo>
                  <a:lnTo>
                    <a:pt x="910467" y="855483"/>
                  </a:lnTo>
                  <a:lnTo>
                    <a:pt x="884980" y="906976"/>
                  </a:lnTo>
                  <a:lnTo>
                    <a:pt x="858579" y="959535"/>
                  </a:lnTo>
                  <a:lnTo>
                    <a:pt x="831258" y="1013120"/>
                  </a:lnTo>
                  <a:lnTo>
                    <a:pt x="803012" y="1067693"/>
                  </a:lnTo>
                  <a:lnTo>
                    <a:pt x="773836" y="1123213"/>
                  </a:lnTo>
                  <a:lnTo>
                    <a:pt x="743725" y="1179642"/>
                  </a:lnTo>
                  <a:lnTo>
                    <a:pt x="712673" y="1236941"/>
                  </a:lnTo>
                  <a:lnTo>
                    <a:pt x="680676" y="1295070"/>
                  </a:lnTo>
                  <a:lnTo>
                    <a:pt x="647729" y="1353991"/>
                  </a:lnTo>
                  <a:lnTo>
                    <a:pt x="613825" y="1413665"/>
                  </a:lnTo>
                  <a:lnTo>
                    <a:pt x="578962" y="1474052"/>
                  </a:lnTo>
                  <a:lnTo>
                    <a:pt x="543132" y="1535113"/>
                  </a:lnTo>
                  <a:lnTo>
                    <a:pt x="506331" y="1596810"/>
                  </a:lnTo>
                  <a:lnTo>
                    <a:pt x="468554" y="1659102"/>
                  </a:lnTo>
                  <a:lnTo>
                    <a:pt x="429795" y="1721952"/>
                  </a:lnTo>
                  <a:lnTo>
                    <a:pt x="390050" y="1785319"/>
                  </a:lnTo>
                  <a:lnTo>
                    <a:pt x="349314" y="1849165"/>
                  </a:lnTo>
                  <a:lnTo>
                    <a:pt x="307580" y="1913451"/>
                  </a:lnTo>
                  <a:lnTo>
                    <a:pt x="264845" y="1978137"/>
                  </a:lnTo>
                  <a:lnTo>
                    <a:pt x="221103" y="2043185"/>
                  </a:lnTo>
                  <a:lnTo>
                    <a:pt x="176349" y="2108555"/>
                  </a:lnTo>
                  <a:lnTo>
                    <a:pt x="130577" y="2174208"/>
                  </a:lnTo>
                  <a:lnTo>
                    <a:pt x="83784" y="2240105"/>
                  </a:lnTo>
                  <a:lnTo>
                    <a:pt x="35962" y="2306208"/>
                  </a:lnTo>
                  <a:lnTo>
                    <a:pt x="0" y="2354990"/>
                  </a:lnTo>
                  <a:lnTo>
                    <a:pt x="33728" y="2354990"/>
                  </a:lnTo>
                  <a:lnTo>
                    <a:pt x="64768" y="2312666"/>
                  </a:lnTo>
                  <a:lnTo>
                    <a:pt x="100318" y="2263501"/>
                  </a:lnTo>
                  <a:lnTo>
                    <a:pt x="135281" y="2214468"/>
                  </a:lnTo>
                  <a:lnTo>
                    <a:pt x="169657" y="2165588"/>
                  </a:lnTo>
                  <a:lnTo>
                    <a:pt x="203448" y="2116880"/>
                  </a:lnTo>
                  <a:lnTo>
                    <a:pt x="236654" y="2068365"/>
                  </a:lnTo>
                  <a:lnTo>
                    <a:pt x="269277" y="2020064"/>
                  </a:lnTo>
                  <a:lnTo>
                    <a:pt x="301316" y="1971998"/>
                  </a:lnTo>
                  <a:lnTo>
                    <a:pt x="332774" y="1924186"/>
                  </a:lnTo>
                  <a:lnTo>
                    <a:pt x="363651" y="1876650"/>
                  </a:lnTo>
                  <a:lnTo>
                    <a:pt x="393947" y="1829409"/>
                  </a:lnTo>
                  <a:lnTo>
                    <a:pt x="423664" y="1782486"/>
                  </a:lnTo>
                  <a:lnTo>
                    <a:pt x="452803" y="1735899"/>
                  </a:lnTo>
                  <a:lnTo>
                    <a:pt x="481364" y="1689669"/>
                  </a:lnTo>
                  <a:lnTo>
                    <a:pt x="509349" y="1643818"/>
                  </a:lnTo>
                  <a:lnTo>
                    <a:pt x="536758" y="1598365"/>
                  </a:lnTo>
                  <a:lnTo>
                    <a:pt x="563592" y="1553332"/>
                  </a:lnTo>
                  <a:lnTo>
                    <a:pt x="589853" y="1508738"/>
                  </a:lnTo>
                  <a:lnTo>
                    <a:pt x="615540" y="1464605"/>
                  </a:lnTo>
                  <a:lnTo>
                    <a:pt x="640655" y="1420952"/>
                  </a:lnTo>
                  <a:lnTo>
                    <a:pt x="665199" y="1377801"/>
                  </a:lnTo>
                  <a:lnTo>
                    <a:pt x="689173" y="1335171"/>
                  </a:lnTo>
                  <a:lnTo>
                    <a:pt x="712577" y="1293084"/>
                  </a:lnTo>
                  <a:lnTo>
                    <a:pt x="735412" y="1251560"/>
                  </a:lnTo>
                  <a:lnTo>
                    <a:pt x="757680" y="1210619"/>
                  </a:lnTo>
                  <a:lnTo>
                    <a:pt x="779382" y="1170282"/>
                  </a:lnTo>
                  <a:lnTo>
                    <a:pt x="800517" y="1130570"/>
                  </a:lnTo>
                  <a:lnTo>
                    <a:pt x="821087" y="1091503"/>
                  </a:lnTo>
                  <a:lnTo>
                    <a:pt x="841093" y="1053102"/>
                  </a:lnTo>
                  <a:lnTo>
                    <a:pt x="860537" y="1015386"/>
                  </a:lnTo>
                  <a:lnTo>
                    <a:pt x="879417" y="978378"/>
                  </a:lnTo>
                  <a:lnTo>
                    <a:pt x="897737" y="942097"/>
                  </a:lnTo>
                  <a:lnTo>
                    <a:pt x="915496" y="906563"/>
                  </a:lnTo>
                  <a:lnTo>
                    <a:pt x="932695" y="871798"/>
                  </a:lnTo>
                  <a:lnTo>
                    <a:pt x="965418" y="804655"/>
                  </a:lnTo>
                  <a:lnTo>
                    <a:pt x="1010715" y="709568"/>
                  </a:lnTo>
                  <a:lnTo>
                    <a:pt x="1038951" y="648906"/>
                  </a:lnTo>
                  <a:lnTo>
                    <a:pt x="1065665" y="590417"/>
                  </a:lnTo>
                  <a:lnTo>
                    <a:pt x="1090871" y="534189"/>
                  </a:lnTo>
                  <a:lnTo>
                    <a:pt x="1114582" y="480309"/>
                  </a:lnTo>
                  <a:lnTo>
                    <a:pt x="1136812" y="428864"/>
                  </a:lnTo>
                  <a:lnTo>
                    <a:pt x="1157574" y="379941"/>
                  </a:lnTo>
                  <a:lnTo>
                    <a:pt x="1176882" y="333627"/>
                  </a:lnTo>
                  <a:lnTo>
                    <a:pt x="1194750" y="290009"/>
                  </a:lnTo>
                  <a:lnTo>
                    <a:pt x="1211190" y="249174"/>
                  </a:lnTo>
                  <a:lnTo>
                    <a:pt x="1226217" y="211209"/>
                  </a:lnTo>
                  <a:lnTo>
                    <a:pt x="1252085" y="144237"/>
                  </a:lnTo>
                  <a:lnTo>
                    <a:pt x="1262953" y="115405"/>
                  </a:lnTo>
                  <a:lnTo>
                    <a:pt x="1285370" y="115405"/>
                  </a:lnTo>
                  <a:lnTo>
                    <a:pt x="1275211" y="0"/>
                  </a:lnTo>
                  <a:close/>
                </a:path>
                <a:path w="1362075" h="2355215">
                  <a:moveTo>
                    <a:pt x="1285370" y="115405"/>
                  </a:moveTo>
                  <a:lnTo>
                    <a:pt x="1262953" y="115405"/>
                  </a:lnTo>
                  <a:lnTo>
                    <a:pt x="1270569" y="177963"/>
                  </a:lnTo>
                  <a:lnTo>
                    <a:pt x="1277718" y="239966"/>
                  </a:lnTo>
                  <a:lnTo>
                    <a:pt x="1284412" y="301391"/>
                  </a:lnTo>
                  <a:lnTo>
                    <a:pt x="1290663" y="362220"/>
                  </a:lnTo>
                  <a:lnTo>
                    <a:pt x="1296484" y="422431"/>
                  </a:lnTo>
                  <a:lnTo>
                    <a:pt x="1301886" y="482004"/>
                  </a:lnTo>
                  <a:lnTo>
                    <a:pt x="1306882" y="540918"/>
                  </a:lnTo>
                  <a:lnTo>
                    <a:pt x="1311483" y="599153"/>
                  </a:lnTo>
                  <a:lnTo>
                    <a:pt x="1315702" y="656688"/>
                  </a:lnTo>
                  <a:lnTo>
                    <a:pt x="1319551" y="713503"/>
                  </a:lnTo>
                  <a:lnTo>
                    <a:pt x="1323041" y="769576"/>
                  </a:lnTo>
                  <a:lnTo>
                    <a:pt x="1326185" y="824888"/>
                  </a:lnTo>
                  <a:lnTo>
                    <a:pt x="1328995" y="879419"/>
                  </a:lnTo>
                  <a:lnTo>
                    <a:pt x="1331483" y="933146"/>
                  </a:lnTo>
                  <a:lnTo>
                    <a:pt x="1333661" y="986051"/>
                  </a:lnTo>
                  <a:lnTo>
                    <a:pt x="1335541" y="1038111"/>
                  </a:lnTo>
                  <a:lnTo>
                    <a:pt x="1337193" y="1091503"/>
                  </a:lnTo>
                  <a:lnTo>
                    <a:pt x="1338455" y="1139620"/>
                  </a:lnTo>
                  <a:lnTo>
                    <a:pt x="1339514" y="1189026"/>
                  </a:lnTo>
                  <a:lnTo>
                    <a:pt x="1340323" y="1237507"/>
                  </a:lnTo>
                  <a:lnTo>
                    <a:pt x="1340894" y="1285041"/>
                  </a:lnTo>
                  <a:lnTo>
                    <a:pt x="1341239" y="1331609"/>
                  </a:lnTo>
                  <a:lnTo>
                    <a:pt x="1341301" y="1421760"/>
                  </a:lnTo>
                  <a:lnTo>
                    <a:pt x="1341046" y="1464605"/>
                  </a:lnTo>
                  <a:lnTo>
                    <a:pt x="1340592" y="1508738"/>
                  </a:lnTo>
                  <a:lnTo>
                    <a:pt x="1340004" y="1549222"/>
                  </a:lnTo>
                  <a:lnTo>
                    <a:pt x="1339249" y="1589556"/>
                  </a:lnTo>
                  <a:lnTo>
                    <a:pt x="1338352" y="1628780"/>
                  </a:lnTo>
                  <a:lnTo>
                    <a:pt x="1337327" y="1666872"/>
                  </a:lnTo>
                  <a:lnTo>
                    <a:pt x="1334937" y="1739580"/>
                  </a:lnTo>
                  <a:lnTo>
                    <a:pt x="1331591" y="1819853"/>
                  </a:lnTo>
                  <a:lnTo>
                    <a:pt x="1327749" y="1895900"/>
                  </a:lnTo>
                  <a:lnTo>
                    <a:pt x="1323513" y="1967575"/>
                  </a:lnTo>
                  <a:lnTo>
                    <a:pt x="1318984" y="2034730"/>
                  </a:lnTo>
                  <a:lnTo>
                    <a:pt x="1314265" y="2097216"/>
                  </a:lnTo>
                  <a:lnTo>
                    <a:pt x="1309456" y="2154885"/>
                  </a:lnTo>
                  <a:lnTo>
                    <a:pt x="1304659" y="2207591"/>
                  </a:lnTo>
                  <a:lnTo>
                    <a:pt x="1299975" y="2255185"/>
                  </a:lnTo>
                  <a:lnTo>
                    <a:pt x="1295507" y="2297519"/>
                  </a:lnTo>
                  <a:lnTo>
                    <a:pt x="1288911" y="2354990"/>
                  </a:lnTo>
                  <a:lnTo>
                    <a:pt x="1315354" y="2354990"/>
                  </a:lnTo>
                  <a:lnTo>
                    <a:pt x="1327472" y="2253759"/>
                  </a:lnTo>
                  <a:lnTo>
                    <a:pt x="1361897" y="1742000"/>
                  </a:lnTo>
                  <a:lnTo>
                    <a:pt x="1360504" y="968959"/>
                  </a:lnTo>
                  <a:lnTo>
                    <a:pt x="1285370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3133725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5" dirty="0">
                <a:solidFill>
                  <a:srgbClr val="FF0000"/>
                </a:solidFill>
              </a:rPr>
              <a:t>Garanci</a:t>
            </a:r>
            <a:r>
              <a:rPr spc="-25" dirty="0">
                <a:solidFill>
                  <a:srgbClr val="FF0000"/>
                </a:solidFill>
              </a:rPr>
              <a:t> </a:t>
            </a:r>
            <a:r>
              <a:rPr spc="-5" dirty="0">
                <a:solidFill>
                  <a:srgbClr val="FF0000"/>
                </a:solidFill>
              </a:rPr>
              <a:t>për</a:t>
            </a:r>
            <a:r>
              <a:rPr spc="-25" dirty="0">
                <a:solidFill>
                  <a:srgbClr val="FF0000"/>
                </a:solidFill>
              </a:rPr>
              <a:t> </a:t>
            </a:r>
            <a:r>
              <a:rPr spc="-5" dirty="0">
                <a:solidFill>
                  <a:srgbClr val="FF0000"/>
                </a:solidFill>
              </a:rPr>
              <a:t>çdo</a:t>
            </a:r>
            <a:r>
              <a:rPr spc="-20" dirty="0">
                <a:solidFill>
                  <a:srgbClr val="FF0000"/>
                </a:solidFill>
              </a:rPr>
              <a:t> </a:t>
            </a:r>
            <a:r>
              <a:rPr spc="-10" dirty="0">
                <a:solidFill>
                  <a:srgbClr val="FF0000"/>
                </a:solidFill>
              </a:rPr>
              <a:t>risk</a:t>
            </a:r>
          </a:p>
        </p:txBody>
      </p:sp>
      <p:grpSp>
        <p:nvGrpSpPr>
          <p:cNvPr id="11" name="object 11"/>
          <p:cNvGrpSpPr/>
          <p:nvPr/>
        </p:nvGrpSpPr>
        <p:grpSpPr>
          <a:xfrm>
            <a:off x="6973948" y="4079747"/>
            <a:ext cx="2139315" cy="2227580"/>
            <a:chOff x="6973948" y="4079747"/>
            <a:chExt cx="2139315" cy="2227580"/>
          </a:xfrm>
        </p:grpSpPr>
        <p:pic>
          <p:nvPicPr>
            <p:cNvPr id="12" name="object 1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001252" y="4914892"/>
              <a:ext cx="1270259" cy="1392181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6978520" y="4892547"/>
              <a:ext cx="1226185" cy="1344295"/>
            </a:xfrm>
            <a:custGeom>
              <a:avLst/>
              <a:gdLst/>
              <a:ahLst/>
              <a:cxnLst/>
              <a:rect l="l" t="t" r="r" b="b"/>
              <a:pathLst>
                <a:path w="1226184" h="1344295">
                  <a:moveTo>
                    <a:pt x="601727" y="0"/>
                  </a:moveTo>
                  <a:lnTo>
                    <a:pt x="554420" y="381"/>
                  </a:lnTo>
                  <a:lnTo>
                    <a:pt x="502279" y="2547"/>
                  </a:lnTo>
                  <a:lnTo>
                    <a:pt x="459010" y="11902"/>
                  </a:lnTo>
                  <a:lnTo>
                    <a:pt x="430037" y="45130"/>
                  </a:lnTo>
                  <a:lnTo>
                    <a:pt x="16130" y="1234960"/>
                  </a:lnTo>
                  <a:lnTo>
                    <a:pt x="2861" y="1280884"/>
                  </a:lnTo>
                  <a:lnTo>
                    <a:pt x="0" y="1302784"/>
                  </a:lnTo>
                  <a:lnTo>
                    <a:pt x="938" y="1311756"/>
                  </a:lnTo>
                  <a:lnTo>
                    <a:pt x="32629" y="1338866"/>
                  </a:lnTo>
                  <a:lnTo>
                    <a:pt x="76900" y="1343280"/>
                  </a:lnTo>
                  <a:lnTo>
                    <a:pt x="119127" y="1344053"/>
                  </a:lnTo>
                  <a:lnTo>
                    <a:pt x="140176" y="1343925"/>
                  </a:lnTo>
                  <a:lnTo>
                    <a:pt x="190628" y="1341996"/>
                  </a:lnTo>
                  <a:lnTo>
                    <a:pt x="232792" y="1334274"/>
                  </a:lnTo>
                  <a:lnTo>
                    <a:pt x="260447" y="1307898"/>
                  </a:lnTo>
                  <a:lnTo>
                    <a:pt x="265177" y="1294650"/>
                  </a:lnTo>
                  <a:lnTo>
                    <a:pt x="349632" y="1034275"/>
                  </a:lnTo>
                  <a:lnTo>
                    <a:pt x="1139232" y="1034275"/>
                  </a:lnTo>
                  <a:lnTo>
                    <a:pt x="1066741" y="826388"/>
                  </a:lnTo>
                  <a:lnTo>
                    <a:pt x="409322" y="826388"/>
                  </a:lnTo>
                  <a:lnTo>
                    <a:pt x="597663" y="260350"/>
                  </a:lnTo>
                  <a:lnTo>
                    <a:pt x="869358" y="260350"/>
                  </a:lnTo>
                  <a:lnTo>
                    <a:pt x="798323" y="56641"/>
                  </a:lnTo>
                  <a:lnTo>
                    <a:pt x="778261" y="20371"/>
                  </a:lnTo>
                  <a:lnTo>
                    <a:pt x="730505" y="4095"/>
                  </a:lnTo>
                  <a:lnTo>
                    <a:pt x="678951" y="857"/>
                  </a:lnTo>
                  <a:lnTo>
                    <a:pt x="630564" y="95"/>
                  </a:lnTo>
                  <a:lnTo>
                    <a:pt x="601727" y="0"/>
                  </a:lnTo>
                  <a:close/>
                </a:path>
                <a:path w="1226184" h="1344295">
                  <a:moveTo>
                    <a:pt x="1139232" y="1034275"/>
                  </a:moveTo>
                  <a:lnTo>
                    <a:pt x="849758" y="1034275"/>
                  </a:lnTo>
                  <a:lnTo>
                    <a:pt x="939293" y="1301851"/>
                  </a:lnTo>
                  <a:lnTo>
                    <a:pt x="942087" y="1310767"/>
                  </a:lnTo>
                  <a:lnTo>
                    <a:pt x="971170" y="1336332"/>
                  </a:lnTo>
                  <a:lnTo>
                    <a:pt x="1016001" y="1342504"/>
                  </a:lnTo>
                  <a:lnTo>
                    <a:pt x="1097789" y="1344053"/>
                  </a:lnTo>
                  <a:lnTo>
                    <a:pt x="1121673" y="1343891"/>
                  </a:lnTo>
                  <a:lnTo>
                    <a:pt x="1161297" y="1342601"/>
                  </a:lnTo>
                  <a:lnTo>
                    <a:pt x="1201485" y="1336846"/>
                  </a:lnTo>
                  <a:lnTo>
                    <a:pt x="1226046" y="1305806"/>
                  </a:lnTo>
                  <a:lnTo>
                    <a:pt x="1225424" y="1295679"/>
                  </a:lnTo>
                  <a:lnTo>
                    <a:pt x="1223307" y="1283906"/>
                  </a:lnTo>
                  <a:lnTo>
                    <a:pt x="1220011" y="1270206"/>
                  </a:lnTo>
                  <a:lnTo>
                    <a:pt x="1215548" y="1254577"/>
                  </a:lnTo>
                  <a:lnTo>
                    <a:pt x="1209930" y="1237018"/>
                  </a:lnTo>
                  <a:lnTo>
                    <a:pt x="1139232" y="1034275"/>
                  </a:lnTo>
                  <a:close/>
                </a:path>
                <a:path w="1226184" h="1344295">
                  <a:moveTo>
                    <a:pt x="869358" y="260350"/>
                  </a:moveTo>
                  <a:lnTo>
                    <a:pt x="598679" y="260350"/>
                  </a:lnTo>
                  <a:lnTo>
                    <a:pt x="787020" y="826388"/>
                  </a:lnTo>
                  <a:lnTo>
                    <a:pt x="1066741" y="826388"/>
                  </a:lnTo>
                  <a:lnTo>
                    <a:pt x="869358" y="26035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" name="object 14"/>
            <p:cNvSpPr/>
            <p:nvPr/>
          </p:nvSpPr>
          <p:spPr>
            <a:xfrm>
              <a:off x="6978520" y="4892547"/>
              <a:ext cx="1226185" cy="1344295"/>
            </a:xfrm>
            <a:custGeom>
              <a:avLst/>
              <a:gdLst/>
              <a:ahLst/>
              <a:cxnLst/>
              <a:rect l="l" t="t" r="r" b="b"/>
              <a:pathLst>
                <a:path w="1226184" h="1344295">
                  <a:moveTo>
                    <a:pt x="597663" y="260350"/>
                  </a:moveTo>
                  <a:lnTo>
                    <a:pt x="409322" y="826388"/>
                  </a:lnTo>
                  <a:lnTo>
                    <a:pt x="787020" y="826388"/>
                  </a:lnTo>
                  <a:lnTo>
                    <a:pt x="598679" y="260350"/>
                  </a:lnTo>
                  <a:lnTo>
                    <a:pt x="597663" y="260350"/>
                  </a:lnTo>
                  <a:close/>
                </a:path>
                <a:path w="1226184" h="1344295">
                  <a:moveTo>
                    <a:pt x="601727" y="0"/>
                  </a:moveTo>
                  <a:lnTo>
                    <a:pt x="656306" y="381"/>
                  </a:lnTo>
                  <a:lnTo>
                    <a:pt x="698501" y="1524"/>
                  </a:lnTo>
                  <a:lnTo>
                    <a:pt x="743507" y="6167"/>
                  </a:lnTo>
                  <a:lnTo>
                    <a:pt x="783337" y="25653"/>
                  </a:lnTo>
                  <a:lnTo>
                    <a:pt x="1209930" y="1237018"/>
                  </a:lnTo>
                  <a:lnTo>
                    <a:pt x="1223307" y="1283906"/>
                  </a:lnTo>
                  <a:lnTo>
                    <a:pt x="1226046" y="1305806"/>
                  </a:lnTo>
                  <a:lnTo>
                    <a:pt x="1224869" y="1314586"/>
                  </a:lnTo>
                  <a:lnTo>
                    <a:pt x="1190345" y="1339675"/>
                  </a:lnTo>
                  <a:lnTo>
                    <a:pt x="1142843" y="1343407"/>
                  </a:lnTo>
                  <a:lnTo>
                    <a:pt x="1097789" y="1344053"/>
                  </a:lnTo>
                  <a:lnTo>
                    <a:pt x="1072973" y="1343956"/>
                  </a:lnTo>
                  <a:lnTo>
                    <a:pt x="1032103" y="1343180"/>
                  </a:lnTo>
                  <a:lnTo>
                    <a:pt x="990109" y="1340189"/>
                  </a:lnTo>
                  <a:lnTo>
                    <a:pt x="949580" y="1323467"/>
                  </a:lnTo>
                  <a:lnTo>
                    <a:pt x="939293" y="1301851"/>
                  </a:lnTo>
                  <a:lnTo>
                    <a:pt x="849758" y="1034275"/>
                  </a:lnTo>
                  <a:lnTo>
                    <a:pt x="349632" y="1034275"/>
                  </a:lnTo>
                  <a:lnTo>
                    <a:pt x="265177" y="1294650"/>
                  </a:lnTo>
                  <a:lnTo>
                    <a:pt x="262991" y="1301563"/>
                  </a:lnTo>
                  <a:lnTo>
                    <a:pt x="260447" y="1307898"/>
                  </a:lnTo>
                  <a:lnTo>
                    <a:pt x="232792" y="1334274"/>
                  </a:lnTo>
                  <a:lnTo>
                    <a:pt x="190628" y="1341996"/>
                  </a:lnTo>
                  <a:lnTo>
                    <a:pt x="140176" y="1343925"/>
                  </a:lnTo>
                  <a:lnTo>
                    <a:pt x="119127" y="1344053"/>
                  </a:lnTo>
                  <a:lnTo>
                    <a:pt x="96716" y="1343860"/>
                  </a:lnTo>
                  <a:lnTo>
                    <a:pt x="44959" y="1340954"/>
                  </a:lnTo>
                  <a:lnTo>
                    <a:pt x="7875" y="1326032"/>
                  </a:lnTo>
                  <a:lnTo>
                    <a:pt x="0" y="1302784"/>
                  </a:lnTo>
                  <a:lnTo>
                    <a:pt x="763" y="1292593"/>
                  </a:lnTo>
                  <a:lnTo>
                    <a:pt x="10533" y="1252070"/>
                  </a:lnTo>
                  <a:lnTo>
                    <a:pt x="426848" y="53466"/>
                  </a:lnTo>
                  <a:lnTo>
                    <a:pt x="445914" y="20103"/>
                  </a:lnTo>
                  <a:lnTo>
                    <a:pt x="488920" y="4095"/>
                  </a:lnTo>
                  <a:lnTo>
                    <a:pt x="534612" y="857"/>
                  </a:lnTo>
                  <a:lnTo>
                    <a:pt x="576800" y="95"/>
                  </a:lnTo>
                  <a:lnTo>
                    <a:pt x="601727" y="0"/>
                  </a:lnTo>
                  <a:close/>
                </a:path>
              </a:pathLst>
            </a:custGeom>
            <a:ln w="914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5" name="object 1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485887" y="4079747"/>
              <a:ext cx="1626870" cy="1994154"/>
            </a:xfrm>
            <a:prstGeom prst="rect">
              <a:avLst/>
            </a:prstGeom>
          </p:spPr>
        </p:pic>
      </p:grpSp>
      <p:sp>
        <p:nvSpPr>
          <p:cNvPr id="16" name="object 16"/>
          <p:cNvSpPr txBox="1"/>
          <p:nvPr/>
        </p:nvSpPr>
        <p:spPr>
          <a:xfrm>
            <a:off x="528319" y="1259839"/>
            <a:ext cx="9605010" cy="417385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6350">
              <a:lnSpc>
                <a:spcPct val="100000"/>
              </a:lnSpc>
              <a:spcBef>
                <a:spcPts val="105"/>
              </a:spcBef>
            </a:pP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Nëpërmjet</a:t>
            </a:r>
            <a:r>
              <a:rPr sz="1400" spc="18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nënshkrimit</a:t>
            </a:r>
            <a:r>
              <a:rPr sz="1400" spc="18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400" spc="18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Marrëveshjeve</a:t>
            </a:r>
            <a:r>
              <a:rPr sz="1400" spc="1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400" spc="1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Risigurimit</a:t>
            </a:r>
            <a:r>
              <a:rPr sz="1400" spc="17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përsa</a:t>
            </a:r>
            <a:r>
              <a:rPr sz="1400" spc="1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400" spc="18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ërket</a:t>
            </a:r>
            <a:r>
              <a:rPr sz="1400" spc="1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rodukteve</a:t>
            </a:r>
            <a:r>
              <a:rPr sz="1400" spc="18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400" spc="18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igurimit</a:t>
            </a:r>
            <a:r>
              <a:rPr sz="1400" spc="1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jo-jetë,</a:t>
            </a:r>
            <a:r>
              <a:rPr sz="1400" spc="1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hoqëria</a:t>
            </a:r>
            <a:r>
              <a:rPr sz="1400" spc="1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Intersig </a:t>
            </a:r>
            <a:r>
              <a:rPr sz="1400" spc="-36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VIG</a:t>
            </a:r>
            <a:r>
              <a:rPr sz="14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ofron</a:t>
            </a:r>
            <a:r>
              <a:rPr sz="1400" spc="-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ër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klientët</a:t>
            </a:r>
            <a:r>
              <a:rPr sz="1400" spc="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4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saj,</a:t>
            </a:r>
            <a:r>
              <a:rPr sz="14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4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ërputhje</a:t>
            </a:r>
            <a:r>
              <a:rPr sz="14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me Licencën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4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Ushtrimit</a:t>
            </a:r>
            <a:r>
              <a:rPr sz="1400" spc="-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Aktivitetit,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garanci</a:t>
            </a:r>
            <a:r>
              <a:rPr sz="1400" spc="-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 plotë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ër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çdo</a:t>
            </a:r>
            <a:r>
              <a:rPr sz="14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risk.</a:t>
            </a:r>
            <a:endParaRPr sz="140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45"/>
              </a:spcBef>
            </a:pPr>
            <a:endParaRPr sz="1200">
              <a:latin typeface="Ebrima"/>
              <a:cs typeface="Ebrima"/>
            </a:endParaRPr>
          </a:p>
          <a:p>
            <a:pPr marL="12700" marR="5080">
              <a:lnSpc>
                <a:spcPct val="100000"/>
              </a:lnSpc>
              <a:spcBef>
                <a:spcPts val="5"/>
              </a:spcBef>
            </a:pP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Marrëveshjet 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Risigurimit,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i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mundësojnë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shoqërisë transferimin e rrezikut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në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shoqëritë 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mëdha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Risigurimit.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Marrëveshjet</a:t>
            </a:r>
            <a:r>
              <a:rPr sz="1400" spc="2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400" spc="2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Risigurimit</a:t>
            </a:r>
            <a:r>
              <a:rPr sz="1400" spc="18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mundësohen</a:t>
            </a:r>
            <a:r>
              <a:rPr sz="1400" spc="1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nga</a:t>
            </a:r>
            <a:r>
              <a:rPr sz="1400" spc="204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VIG</a:t>
            </a:r>
            <a:r>
              <a:rPr sz="1400" spc="1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RE</a:t>
            </a:r>
            <a:r>
              <a:rPr sz="1400" spc="1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si</a:t>
            </a:r>
            <a:r>
              <a:rPr sz="1400" spc="1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dhe</a:t>
            </a:r>
            <a:r>
              <a:rPr sz="1400" spc="1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nga</a:t>
            </a:r>
            <a:r>
              <a:rPr sz="1400" spc="2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Risigurues</a:t>
            </a:r>
            <a:r>
              <a:rPr sz="1400" spc="2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400" spc="1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jerë,</a:t>
            </a:r>
            <a:r>
              <a:rPr sz="1400" spc="1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400" spc="2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gjithë</a:t>
            </a:r>
            <a:r>
              <a:rPr sz="1400" spc="1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te</a:t>
            </a:r>
            <a:r>
              <a:rPr sz="1400" spc="1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vlerësuar</a:t>
            </a:r>
            <a:r>
              <a:rPr sz="1400" spc="204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me</a:t>
            </a:r>
            <a:r>
              <a:rPr sz="1400" spc="1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“A+”</a:t>
            </a:r>
            <a:r>
              <a:rPr sz="1400" spc="1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nga </a:t>
            </a:r>
            <a:r>
              <a:rPr sz="1400" spc="-37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Standard</a:t>
            </a:r>
            <a:r>
              <a:rPr sz="1400" spc="-2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&amp;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Poor’s.</a:t>
            </a:r>
            <a:endParaRPr sz="140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1200">
              <a:latin typeface="Ebrima"/>
              <a:cs typeface="Ebrima"/>
            </a:endParaRPr>
          </a:p>
          <a:p>
            <a:pPr marL="12700" marR="5715">
              <a:lnSpc>
                <a:spcPct val="100000"/>
              </a:lnSpc>
            </a:pP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VIG</a:t>
            </a:r>
            <a:r>
              <a:rPr sz="1400" spc="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Group</a:t>
            </a:r>
            <a:r>
              <a:rPr sz="1400" spc="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vlerësohet</a:t>
            </a:r>
            <a:r>
              <a:rPr sz="1400" spc="1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me</a:t>
            </a:r>
            <a:r>
              <a:rPr sz="1400" spc="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“A+”</a:t>
            </a:r>
            <a:r>
              <a:rPr sz="1400" spc="8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me</a:t>
            </a:r>
            <a:r>
              <a:rPr sz="1400" spc="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një</a:t>
            </a:r>
            <a:r>
              <a:rPr sz="1400" spc="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erspektivë</a:t>
            </a:r>
            <a:r>
              <a:rPr sz="1400" spc="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400" spc="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qëndrueshme,</a:t>
            </a:r>
            <a:r>
              <a:rPr sz="1400" spc="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gjë</a:t>
            </a:r>
            <a:r>
              <a:rPr sz="1400" spc="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që</a:t>
            </a:r>
            <a:r>
              <a:rPr sz="1400" spc="9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400" spc="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bën</a:t>
            </a:r>
            <a:r>
              <a:rPr sz="1400" spc="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Vienna</a:t>
            </a:r>
            <a:r>
              <a:rPr sz="1400" spc="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Insurance</a:t>
            </a:r>
            <a:r>
              <a:rPr sz="1400" spc="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Group</a:t>
            </a:r>
            <a:r>
              <a:rPr sz="1400" spc="9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shoqërinë</a:t>
            </a:r>
            <a:r>
              <a:rPr sz="1400" spc="8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10" dirty="0">
                <a:solidFill>
                  <a:srgbClr val="585858"/>
                </a:solidFill>
                <a:latin typeface="Ebrima"/>
                <a:cs typeface="Ebrima"/>
              </a:rPr>
              <a:t>më </a:t>
            </a:r>
            <a:r>
              <a:rPr sz="1400" spc="-36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vlerësuar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4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indeksin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kryesor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 ATX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 Bursës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së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 Vjenës.</a:t>
            </a:r>
            <a:endParaRPr sz="140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50"/>
              </a:spcBef>
            </a:pPr>
            <a:endParaRPr sz="1200">
              <a:latin typeface="Ebrima"/>
              <a:cs typeface="Ebrima"/>
            </a:endParaRPr>
          </a:p>
          <a:p>
            <a:pPr marL="12700" marR="5080" algn="just">
              <a:lnSpc>
                <a:spcPct val="100000"/>
              </a:lnSpc>
            </a:pP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VIG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Re është shoqëria 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risigurimit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 grupit VIG, 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cila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mbështet të gjitha shoqëritë e grupit dhe më tej.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VIG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R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gjithashtu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ka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një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vlerësim</a:t>
            </a:r>
            <a:r>
              <a:rPr sz="14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“A+”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m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një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perspektivë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4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qëndrueshme</a:t>
            </a:r>
            <a:r>
              <a:rPr sz="1400" spc="-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nga</a:t>
            </a:r>
            <a:r>
              <a:rPr sz="14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Standard</a:t>
            </a:r>
            <a:r>
              <a:rPr sz="14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&amp;</a:t>
            </a:r>
            <a:r>
              <a:rPr sz="14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oor's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që</a:t>
            </a:r>
            <a:r>
              <a:rPr sz="14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nga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themelimi</a:t>
            </a:r>
            <a:r>
              <a:rPr sz="14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i saj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në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vitin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2008.</a:t>
            </a:r>
            <a:endParaRPr sz="1400">
              <a:latin typeface="Ebrima"/>
              <a:cs typeface="Ebrima"/>
            </a:endParaRPr>
          </a:p>
          <a:p>
            <a:pPr marL="12700" marR="5080" algn="just">
              <a:lnSpc>
                <a:spcPct val="100000"/>
              </a:lnSpc>
            </a:pP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ërfshirja n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marrëveshje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risigurimi na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jep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kapacitete më të lartë të marrjes n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igurim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si dhe na ofron ekspertizë të </a:t>
            </a:r>
            <a:r>
              <a:rPr sz="14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dedikuar për risqe të veçanta, duke berë të mundur që shoqëria t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lëshojë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olica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sigurimi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me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limite nga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më t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lartat në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 treg,</a:t>
            </a:r>
            <a:r>
              <a:rPr sz="14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për të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gjithë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linjat</a:t>
            </a:r>
            <a:r>
              <a:rPr sz="14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4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400" dirty="0">
                <a:solidFill>
                  <a:srgbClr val="585858"/>
                </a:solidFill>
                <a:latin typeface="Ebrima"/>
                <a:cs typeface="Ebrima"/>
              </a:rPr>
              <a:t>biznesit </a:t>
            </a:r>
            <a:r>
              <a:rPr sz="1400" spc="-5" dirty="0">
                <a:solidFill>
                  <a:srgbClr val="585858"/>
                </a:solidFill>
                <a:latin typeface="Ebrima"/>
                <a:cs typeface="Ebrima"/>
              </a:rPr>
              <a:t>jo-jetë.</a:t>
            </a:r>
            <a:endParaRPr sz="1400">
              <a:latin typeface="Ebrima"/>
              <a:cs typeface="Ebrima"/>
            </a:endParaRPr>
          </a:p>
          <a:p>
            <a:pPr marR="1609090" algn="r">
              <a:lnSpc>
                <a:spcPts val="7455"/>
              </a:lnSpc>
            </a:pPr>
            <a:r>
              <a:rPr sz="7200" dirty="0">
                <a:solidFill>
                  <a:srgbClr val="FF0000"/>
                </a:solidFill>
                <a:latin typeface="Calibri"/>
                <a:cs typeface="Calibri"/>
              </a:rPr>
              <a:t>+</a:t>
            </a:r>
            <a:endParaRPr sz="7200">
              <a:latin typeface="Calibri"/>
              <a:cs typeface="Calibri"/>
            </a:endParaRPr>
          </a:p>
        </p:txBody>
      </p:sp>
      <p:sp>
        <p:nvSpPr>
          <p:cNvPr id="17" name="object 17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8</a:t>
            </a:fld>
            <a:endParaRPr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573735" y="1539951"/>
            <a:ext cx="5741670" cy="2952115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Viti</a:t>
            </a:r>
            <a:r>
              <a:rPr sz="1600" spc="13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smtClean="0">
                <a:solidFill>
                  <a:srgbClr val="585858"/>
                </a:solidFill>
                <a:latin typeface="Ebrima"/>
                <a:cs typeface="Ebrima"/>
              </a:rPr>
              <a:t>202</a:t>
            </a:r>
            <a:r>
              <a:rPr lang="en-US" sz="1600" spc="-5" dirty="0" smtClean="0">
                <a:solidFill>
                  <a:srgbClr val="585858"/>
                </a:solidFill>
                <a:latin typeface="Ebrima"/>
                <a:cs typeface="Ebrima"/>
              </a:rPr>
              <a:t>2</a:t>
            </a:r>
            <a:r>
              <a:rPr sz="1600" spc="155" dirty="0" smtClean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shenjon</a:t>
            </a:r>
            <a:r>
              <a:rPr sz="1600" spc="14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dhe</a:t>
            </a:r>
            <a:r>
              <a:rPr sz="1600" spc="14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vitin</a:t>
            </a:r>
            <a:r>
              <a:rPr sz="1600" spc="14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600" spc="14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smtClean="0">
                <a:solidFill>
                  <a:srgbClr val="585858"/>
                </a:solidFill>
                <a:latin typeface="Ebrima"/>
                <a:cs typeface="Ebrima"/>
              </a:rPr>
              <a:t>2</a:t>
            </a:r>
            <a:r>
              <a:rPr lang="en-US" sz="1600" spc="-5" dirty="0" smtClean="0">
                <a:solidFill>
                  <a:srgbClr val="585858"/>
                </a:solidFill>
                <a:latin typeface="Ebrima"/>
                <a:cs typeface="Ebrima"/>
              </a:rPr>
              <a:t>1</a:t>
            </a:r>
            <a:r>
              <a:rPr sz="1600" spc="-5" dirty="0" smtClean="0">
                <a:solidFill>
                  <a:srgbClr val="585858"/>
                </a:solidFill>
                <a:latin typeface="Ebrima"/>
                <a:cs typeface="Ebrima"/>
              </a:rPr>
              <a:t>-të</a:t>
            </a:r>
            <a:r>
              <a:rPr sz="1600" spc="145" dirty="0" smtClean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14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aktivitetit</a:t>
            </a:r>
            <a:r>
              <a:rPr sz="1600" spc="13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14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ntersig</a:t>
            </a:r>
            <a:r>
              <a:rPr sz="1600" spc="14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VIG</a:t>
            </a:r>
            <a:endParaRPr sz="1600" dirty="0">
              <a:latin typeface="Ebrima"/>
              <a:cs typeface="Ebri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fushën</a:t>
            </a:r>
            <a:r>
              <a:rPr sz="1600" spc="-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igurimeve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Republikën</a:t>
            </a:r>
            <a:r>
              <a:rPr sz="1600" spc="1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 Shqipërisë.</a:t>
            </a:r>
            <a:endParaRPr sz="1600" dirty="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1400" dirty="0">
              <a:latin typeface="Ebrima"/>
              <a:cs typeface="Ebri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Zyra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Qendrore</a:t>
            </a:r>
            <a:r>
              <a:rPr sz="1600" spc="3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e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ntersig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VIG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gjendet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iranë.</a:t>
            </a:r>
            <a:endParaRPr sz="1600" dirty="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1400" dirty="0">
              <a:latin typeface="Ebrima"/>
              <a:cs typeface="Ebrima"/>
            </a:endParaRPr>
          </a:p>
          <a:p>
            <a:pPr marL="12700" marR="5080">
              <a:lnSpc>
                <a:spcPct val="100000"/>
              </a:lnSpc>
              <a:tabLst>
                <a:tab pos="928369" algn="l"/>
                <a:tab pos="2052955" algn="l"/>
                <a:tab pos="2600325" algn="l"/>
                <a:tab pos="2903855" algn="l"/>
                <a:tab pos="3301365" algn="l"/>
                <a:tab pos="3844290" algn="l"/>
                <a:tab pos="4145915" algn="l"/>
                <a:tab pos="4726305" algn="l"/>
                <a:tab pos="5028565" algn="l"/>
              </a:tabLst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hoqëri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a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	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o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er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o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12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n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	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baz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	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t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	n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j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	rr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jet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	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t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	g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j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r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	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t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	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degë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ve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,  agjencive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dhe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ikav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hitjes.</a:t>
            </a:r>
            <a:endParaRPr sz="1600" dirty="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25"/>
              </a:spcBef>
            </a:pPr>
            <a:endParaRPr sz="1400" dirty="0">
              <a:latin typeface="Ebrima"/>
              <a:cs typeface="Ebrima"/>
            </a:endParaRPr>
          </a:p>
          <a:p>
            <a:pPr marL="12700">
              <a:lnSpc>
                <a:spcPct val="100000"/>
              </a:lnSpc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Intersig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VIG</a:t>
            </a:r>
            <a:r>
              <a:rPr sz="1600" spc="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ërfaqësohet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600" spc="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16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rajone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Shqipërisë.</a:t>
            </a:r>
            <a:endParaRPr sz="1600" dirty="0">
              <a:latin typeface="Ebrima"/>
              <a:cs typeface="Ebrima"/>
            </a:endParaRPr>
          </a:p>
          <a:p>
            <a:pPr>
              <a:lnSpc>
                <a:spcPct val="100000"/>
              </a:lnSpc>
              <a:spcBef>
                <a:spcPts val="15"/>
              </a:spcBef>
            </a:pPr>
            <a:endParaRPr sz="1400" dirty="0">
              <a:latin typeface="Ebrima"/>
              <a:cs typeface="Ebrima"/>
            </a:endParaRPr>
          </a:p>
          <a:p>
            <a:pPr marL="12700">
              <a:lnSpc>
                <a:spcPct val="100000"/>
              </a:lnSpc>
              <a:spcBef>
                <a:spcPts val="5"/>
              </a:spcBef>
            </a:pP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Në</a:t>
            </a:r>
            <a:r>
              <a:rPr sz="1600" spc="26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fund</a:t>
            </a:r>
            <a:r>
              <a:rPr sz="1600" spc="25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ë</a:t>
            </a:r>
            <a:r>
              <a:rPr sz="1600" spc="26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err="1">
                <a:solidFill>
                  <a:srgbClr val="585858"/>
                </a:solidFill>
                <a:latin typeface="Ebrima"/>
                <a:cs typeface="Ebrima"/>
              </a:rPr>
              <a:t>vitit</a:t>
            </a:r>
            <a:r>
              <a:rPr sz="1600" spc="28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 smtClean="0">
                <a:solidFill>
                  <a:srgbClr val="585858"/>
                </a:solidFill>
                <a:latin typeface="Ebrima"/>
                <a:cs typeface="Ebrima"/>
              </a:rPr>
              <a:t>202</a:t>
            </a:r>
            <a:r>
              <a:rPr lang="en-US" sz="1600" spc="-5" dirty="0" smtClean="0">
                <a:solidFill>
                  <a:srgbClr val="585858"/>
                </a:solidFill>
                <a:latin typeface="Ebrima"/>
                <a:cs typeface="Ebrima"/>
              </a:rPr>
              <a:t>2</a:t>
            </a:r>
            <a:r>
              <a:rPr sz="1600" spc="-5" dirty="0" smtClean="0">
                <a:solidFill>
                  <a:srgbClr val="585858"/>
                </a:solidFill>
                <a:latin typeface="Ebrima"/>
                <a:cs typeface="Ebrima"/>
              </a:rPr>
              <a:t>,</a:t>
            </a:r>
            <a:r>
              <a:rPr sz="1600" spc="265" dirty="0" smtClean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10" dirty="0">
                <a:solidFill>
                  <a:srgbClr val="585858"/>
                </a:solidFill>
                <a:latin typeface="Ebrima"/>
                <a:cs typeface="Ebrima"/>
              </a:rPr>
              <a:t>Shoqëria</a:t>
            </a:r>
            <a:r>
              <a:rPr sz="1600" spc="27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dirty="0">
                <a:solidFill>
                  <a:srgbClr val="585858"/>
                </a:solidFill>
                <a:latin typeface="Ebrima"/>
                <a:cs typeface="Ebrima"/>
              </a:rPr>
              <a:t>ka</a:t>
            </a:r>
            <a:r>
              <a:rPr sz="1600" spc="26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atur</a:t>
            </a:r>
            <a:r>
              <a:rPr sz="1600" spc="254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jë</a:t>
            </a:r>
            <a:r>
              <a:rPr sz="1600" spc="28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numër</a:t>
            </a:r>
            <a:r>
              <a:rPr sz="1600" spc="254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total</a:t>
            </a:r>
            <a:r>
              <a:rPr sz="1600" spc="260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rej</a:t>
            </a:r>
            <a:endParaRPr sz="1600" dirty="0">
              <a:latin typeface="Ebrima"/>
              <a:cs typeface="Ebrima"/>
            </a:endParaRPr>
          </a:p>
          <a:p>
            <a:pPr marL="12700">
              <a:lnSpc>
                <a:spcPct val="100000"/>
              </a:lnSpc>
            </a:pP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138</a:t>
            </a:r>
            <a:r>
              <a:rPr sz="1600" spc="-45" dirty="0">
                <a:solidFill>
                  <a:srgbClr val="585858"/>
                </a:solidFill>
                <a:latin typeface="Ebrima"/>
                <a:cs typeface="Ebrima"/>
              </a:rPr>
              <a:t> </a:t>
            </a:r>
            <a:r>
              <a:rPr sz="1600" spc="-5" dirty="0">
                <a:solidFill>
                  <a:srgbClr val="585858"/>
                </a:solidFill>
                <a:latin typeface="Ebrima"/>
                <a:cs typeface="Ebrima"/>
              </a:rPr>
              <a:t>punonjësish.</a:t>
            </a:r>
            <a:endParaRPr sz="1600" dirty="0">
              <a:latin typeface="Ebrima"/>
              <a:cs typeface="Ebrima"/>
            </a:endParaRPr>
          </a:p>
        </p:txBody>
      </p:sp>
      <p:grpSp>
        <p:nvGrpSpPr>
          <p:cNvPr id="3" name="object 3"/>
          <p:cNvGrpSpPr/>
          <p:nvPr/>
        </p:nvGrpSpPr>
        <p:grpSpPr>
          <a:xfrm>
            <a:off x="0" y="17"/>
            <a:ext cx="12192000" cy="6858000"/>
            <a:chOff x="0" y="17"/>
            <a:chExt cx="12192000" cy="6858000"/>
          </a:xfrm>
        </p:grpSpPr>
        <p:sp>
          <p:nvSpPr>
            <p:cNvPr id="4" name="object 4"/>
            <p:cNvSpPr/>
            <p:nvPr/>
          </p:nvSpPr>
          <p:spPr>
            <a:xfrm>
              <a:off x="0" y="961644"/>
              <a:ext cx="12192000" cy="45720"/>
            </a:xfrm>
            <a:custGeom>
              <a:avLst/>
              <a:gdLst/>
              <a:ahLst/>
              <a:cxnLst/>
              <a:rect l="l" t="t" r="r" b="b"/>
              <a:pathLst>
                <a:path w="12192000" h="45719">
                  <a:moveTo>
                    <a:pt x="12192000" y="0"/>
                  </a:moveTo>
                  <a:lnTo>
                    <a:pt x="0" y="0"/>
                  </a:lnTo>
                  <a:lnTo>
                    <a:pt x="0" y="45720"/>
                  </a:lnTo>
                  <a:lnTo>
                    <a:pt x="12192000" y="45720"/>
                  </a:lnTo>
                  <a:lnTo>
                    <a:pt x="12192000" y="0"/>
                  </a:lnTo>
                  <a:close/>
                </a:path>
              </a:pathLst>
            </a:custGeom>
            <a:solidFill>
              <a:srgbClr val="FF000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" name="object 5"/>
            <p:cNvSpPr/>
            <p:nvPr/>
          </p:nvSpPr>
          <p:spPr>
            <a:xfrm>
              <a:off x="8996232" y="17"/>
              <a:ext cx="3195955" cy="6858000"/>
            </a:xfrm>
            <a:custGeom>
              <a:avLst/>
              <a:gdLst/>
              <a:ahLst/>
              <a:cxnLst/>
              <a:rect l="l" t="t" r="r" b="b"/>
              <a:pathLst>
                <a:path w="3195954" h="6858000">
                  <a:moveTo>
                    <a:pt x="3195691" y="0"/>
                  </a:moveTo>
                  <a:lnTo>
                    <a:pt x="0" y="0"/>
                  </a:lnTo>
                  <a:lnTo>
                    <a:pt x="31566" y="31104"/>
                  </a:lnTo>
                  <a:lnTo>
                    <a:pt x="66288" y="65866"/>
                  </a:lnTo>
                  <a:lnTo>
                    <a:pt x="100745" y="100914"/>
                  </a:lnTo>
                  <a:lnTo>
                    <a:pt x="134937" y="136249"/>
                  </a:lnTo>
                  <a:lnTo>
                    <a:pt x="168864" y="171869"/>
                  </a:lnTo>
                  <a:lnTo>
                    <a:pt x="202524" y="207773"/>
                  </a:lnTo>
                  <a:lnTo>
                    <a:pt x="235917" y="243960"/>
                  </a:lnTo>
                  <a:lnTo>
                    <a:pt x="269042" y="280430"/>
                  </a:lnTo>
                  <a:lnTo>
                    <a:pt x="301899" y="317181"/>
                  </a:lnTo>
                  <a:lnTo>
                    <a:pt x="334487" y="354212"/>
                  </a:lnTo>
                  <a:lnTo>
                    <a:pt x="366806" y="391522"/>
                  </a:lnTo>
                  <a:lnTo>
                    <a:pt x="398853" y="429111"/>
                  </a:lnTo>
                  <a:lnTo>
                    <a:pt x="430630" y="466977"/>
                  </a:lnTo>
                  <a:lnTo>
                    <a:pt x="462135" y="505119"/>
                  </a:lnTo>
                  <a:lnTo>
                    <a:pt x="493367" y="543537"/>
                  </a:lnTo>
                  <a:lnTo>
                    <a:pt x="524327" y="582230"/>
                  </a:lnTo>
                  <a:lnTo>
                    <a:pt x="555012" y="621196"/>
                  </a:lnTo>
                  <a:lnTo>
                    <a:pt x="585423" y="660434"/>
                  </a:lnTo>
                  <a:lnTo>
                    <a:pt x="615559" y="699945"/>
                  </a:lnTo>
                  <a:lnTo>
                    <a:pt x="645419" y="739725"/>
                  </a:lnTo>
                  <a:lnTo>
                    <a:pt x="675003" y="779776"/>
                  </a:lnTo>
                  <a:lnTo>
                    <a:pt x="704309" y="820095"/>
                  </a:lnTo>
                  <a:lnTo>
                    <a:pt x="733338" y="860681"/>
                  </a:lnTo>
                  <a:lnTo>
                    <a:pt x="762088" y="901535"/>
                  </a:lnTo>
                  <a:lnTo>
                    <a:pt x="790559" y="942654"/>
                  </a:lnTo>
                  <a:lnTo>
                    <a:pt x="818750" y="984038"/>
                  </a:lnTo>
                  <a:lnTo>
                    <a:pt x="846660" y="1025686"/>
                  </a:lnTo>
                  <a:lnTo>
                    <a:pt x="874289" y="1067597"/>
                  </a:lnTo>
                  <a:lnTo>
                    <a:pt x="901637" y="1109770"/>
                  </a:lnTo>
                  <a:lnTo>
                    <a:pt x="928701" y="1152203"/>
                  </a:lnTo>
                  <a:lnTo>
                    <a:pt x="955483" y="1194897"/>
                  </a:lnTo>
                  <a:lnTo>
                    <a:pt x="981980" y="1237849"/>
                  </a:lnTo>
                  <a:lnTo>
                    <a:pt x="1008193" y="1281060"/>
                  </a:lnTo>
                  <a:lnTo>
                    <a:pt x="1034120" y="1324528"/>
                  </a:lnTo>
                  <a:lnTo>
                    <a:pt x="1059762" y="1368251"/>
                  </a:lnTo>
                  <a:lnTo>
                    <a:pt x="1085117" y="1412230"/>
                  </a:lnTo>
                  <a:lnTo>
                    <a:pt x="1110184" y="1456463"/>
                  </a:lnTo>
                  <a:lnTo>
                    <a:pt x="1134964" y="1500949"/>
                  </a:lnTo>
                  <a:lnTo>
                    <a:pt x="1159455" y="1545688"/>
                  </a:lnTo>
                  <a:lnTo>
                    <a:pt x="1183657" y="1590677"/>
                  </a:lnTo>
                  <a:lnTo>
                    <a:pt x="1207568" y="1635917"/>
                  </a:lnTo>
                  <a:lnTo>
                    <a:pt x="1231189" y="1681406"/>
                  </a:lnTo>
                  <a:lnTo>
                    <a:pt x="1254518" y="1727144"/>
                  </a:lnTo>
                  <a:lnTo>
                    <a:pt x="1277556" y="1773129"/>
                  </a:lnTo>
                  <a:lnTo>
                    <a:pt x="1300301" y="1819360"/>
                  </a:lnTo>
                  <a:lnTo>
                    <a:pt x="1322752" y="1865837"/>
                  </a:lnTo>
                  <a:lnTo>
                    <a:pt x="1344909" y="1912558"/>
                  </a:lnTo>
                  <a:lnTo>
                    <a:pt x="1365226" y="1956106"/>
                  </a:lnTo>
                  <a:lnTo>
                    <a:pt x="1385296" y="1999878"/>
                  </a:lnTo>
                  <a:lnTo>
                    <a:pt x="1405118" y="2043873"/>
                  </a:lnTo>
                  <a:lnTo>
                    <a:pt x="1424691" y="2088090"/>
                  </a:lnTo>
                  <a:lnTo>
                    <a:pt x="1444017" y="2132528"/>
                  </a:lnTo>
                  <a:lnTo>
                    <a:pt x="1463093" y="2177183"/>
                  </a:lnTo>
                  <a:lnTo>
                    <a:pt x="1481921" y="2222057"/>
                  </a:lnTo>
                  <a:lnTo>
                    <a:pt x="1500498" y="2267146"/>
                  </a:lnTo>
                  <a:lnTo>
                    <a:pt x="1518826" y="2312449"/>
                  </a:lnTo>
                  <a:lnTo>
                    <a:pt x="1536904" y="2357965"/>
                  </a:lnTo>
                  <a:lnTo>
                    <a:pt x="1554731" y="2403693"/>
                  </a:lnTo>
                  <a:lnTo>
                    <a:pt x="1572307" y="2449630"/>
                  </a:lnTo>
                  <a:lnTo>
                    <a:pt x="1589632" y="2495776"/>
                  </a:lnTo>
                  <a:lnTo>
                    <a:pt x="1606705" y="2542129"/>
                  </a:lnTo>
                  <a:lnTo>
                    <a:pt x="1623526" y="2588688"/>
                  </a:lnTo>
                  <a:lnTo>
                    <a:pt x="1640095" y="2635450"/>
                  </a:lnTo>
                  <a:lnTo>
                    <a:pt x="1656411" y="2682416"/>
                  </a:lnTo>
                  <a:lnTo>
                    <a:pt x="1672474" y="2729582"/>
                  </a:lnTo>
                  <a:lnTo>
                    <a:pt x="1688283" y="2776948"/>
                  </a:lnTo>
                  <a:lnTo>
                    <a:pt x="1703839" y="2824512"/>
                  </a:lnTo>
                  <a:lnTo>
                    <a:pt x="1719140" y="2872273"/>
                  </a:lnTo>
                  <a:lnTo>
                    <a:pt x="1734187" y="2920229"/>
                  </a:lnTo>
                  <a:lnTo>
                    <a:pt x="1748980" y="2968379"/>
                  </a:lnTo>
                  <a:lnTo>
                    <a:pt x="1763517" y="3016722"/>
                  </a:lnTo>
                  <a:lnTo>
                    <a:pt x="1777798" y="3065255"/>
                  </a:lnTo>
                  <a:lnTo>
                    <a:pt x="1791824" y="3113978"/>
                  </a:lnTo>
                  <a:lnTo>
                    <a:pt x="1805593" y="3162888"/>
                  </a:lnTo>
                  <a:lnTo>
                    <a:pt x="1819106" y="3211985"/>
                  </a:lnTo>
                  <a:lnTo>
                    <a:pt x="1832361" y="3261267"/>
                  </a:lnTo>
                  <a:lnTo>
                    <a:pt x="1845359" y="3310733"/>
                  </a:lnTo>
                  <a:lnTo>
                    <a:pt x="1858100" y="3360381"/>
                  </a:lnTo>
                  <a:lnTo>
                    <a:pt x="1870583" y="3410209"/>
                  </a:lnTo>
                  <a:lnTo>
                    <a:pt x="1882807" y="3460216"/>
                  </a:lnTo>
                  <a:lnTo>
                    <a:pt x="1894772" y="3510401"/>
                  </a:lnTo>
                  <a:lnTo>
                    <a:pt x="1906478" y="3560763"/>
                  </a:lnTo>
                  <a:lnTo>
                    <a:pt x="1917925" y="3611299"/>
                  </a:lnTo>
                  <a:lnTo>
                    <a:pt x="1929112" y="3662008"/>
                  </a:lnTo>
                  <a:lnTo>
                    <a:pt x="1940039" y="3712889"/>
                  </a:lnTo>
                  <a:lnTo>
                    <a:pt x="1950705" y="3763940"/>
                  </a:lnTo>
                  <a:lnTo>
                    <a:pt x="1961111" y="3815161"/>
                  </a:lnTo>
                  <a:lnTo>
                    <a:pt x="1971255" y="3866548"/>
                  </a:lnTo>
                  <a:lnTo>
                    <a:pt x="1981138" y="3918102"/>
                  </a:lnTo>
                  <a:lnTo>
                    <a:pt x="1990758" y="3969820"/>
                  </a:lnTo>
                  <a:lnTo>
                    <a:pt x="2000117" y="4021701"/>
                  </a:lnTo>
                  <a:lnTo>
                    <a:pt x="2012598" y="4093878"/>
                  </a:lnTo>
                  <a:lnTo>
                    <a:pt x="2024450" y="4165631"/>
                  </a:lnTo>
                  <a:lnTo>
                    <a:pt x="2035686" y="4236940"/>
                  </a:lnTo>
                  <a:lnTo>
                    <a:pt x="2046320" y="4307783"/>
                  </a:lnTo>
                  <a:lnTo>
                    <a:pt x="2056367" y="4378140"/>
                  </a:lnTo>
                  <a:lnTo>
                    <a:pt x="2065838" y="4447991"/>
                  </a:lnTo>
                  <a:lnTo>
                    <a:pt x="2074748" y="4517313"/>
                  </a:lnTo>
                  <a:lnTo>
                    <a:pt x="2083110" y="4586086"/>
                  </a:lnTo>
                  <a:lnTo>
                    <a:pt x="2090938" y="4654289"/>
                  </a:lnTo>
                  <a:lnTo>
                    <a:pt x="2098246" y="4721902"/>
                  </a:lnTo>
                  <a:lnTo>
                    <a:pt x="2105047" y="4788902"/>
                  </a:lnTo>
                  <a:lnTo>
                    <a:pt x="2111355" y="4855270"/>
                  </a:lnTo>
                  <a:lnTo>
                    <a:pt x="2117183" y="4920984"/>
                  </a:lnTo>
                  <a:lnTo>
                    <a:pt x="2122545" y="4986024"/>
                  </a:lnTo>
                  <a:lnTo>
                    <a:pt x="2127454" y="5050367"/>
                  </a:lnTo>
                  <a:lnTo>
                    <a:pt x="2131924" y="5113995"/>
                  </a:lnTo>
                  <a:lnTo>
                    <a:pt x="2135969" y="5176885"/>
                  </a:lnTo>
                  <a:lnTo>
                    <a:pt x="2139603" y="5239016"/>
                  </a:lnTo>
                  <a:lnTo>
                    <a:pt x="2142838" y="5300368"/>
                  </a:lnTo>
                  <a:lnTo>
                    <a:pt x="2145688" y="5360919"/>
                  </a:lnTo>
                  <a:lnTo>
                    <a:pt x="2148168" y="5420650"/>
                  </a:lnTo>
                  <a:lnTo>
                    <a:pt x="2150290" y="5479538"/>
                  </a:lnTo>
                  <a:lnTo>
                    <a:pt x="2152082" y="5538120"/>
                  </a:lnTo>
                  <a:lnTo>
                    <a:pt x="2153516" y="5594704"/>
                  </a:lnTo>
                  <a:lnTo>
                    <a:pt x="2154647" y="5650940"/>
                  </a:lnTo>
                  <a:lnTo>
                    <a:pt x="2155475" y="5706250"/>
                  </a:lnTo>
                  <a:lnTo>
                    <a:pt x="2156014" y="5760613"/>
                  </a:lnTo>
                  <a:lnTo>
                    <a:pt x="2156250" y="5872161"/>
                  </a:lnTo>
                  <a:lnTo>
                    <a:pt x="2156030" y="5917811"/>
                  </a:lnTo>
                  <a:lnTo>
                    <a:pt x="2155546" y="5968177"/>
                  </a:lnTo>
                  <a:lnTo>
                    <a:pt x="2154841" y="6017492"/>
                  </a:lnTo>
                  <a:lnTo>
                    <a:pt x="2153929" y="6065733"/>
                  </a:lnTo>
                  <a:lnTo>
                    <a:pt x="2152821" y="6112882"/>
                  </a:lnTo>
                  <a:lnTo>
                    <a:pt x="2151534" y="6158915"/>
                  </a:lnTo>
                  <a:lnTo>
                    <a:pt x="2150078" y="6203814"/>
                  </a:lnTo>
                  <a:lnTo>
                    <a:pt x="2148470" y="6247556"/>
                  </a:lnTo>
                  <a:lnTo>
                    <a:pt x="2146721" y="6290121"/>
                  </a:lnTo>
                  <a:lnTo>
                    <a:pt x="2144846" y="6331487"/>
                  </a:lnTo>
                  <a:lnTo>
                    <a:pt x="2142858" y="6371634"/>
                  </a:lnTo>
                  <a:lnTo>
                    <a:pt x="2140770" y="6410542"/>
                  </a:lnTo>
                  <a:lnTo>
                    <a:pt x="2136352" y="6484552"/>
                  </a:lnTo>
                  <a:lnTo>
                    <a:pt x="2131700" y="6553351"/>
                  </a:lnTo>
                  <a:lnTo>
                    <a:pt x="2126923" y="6616770"/>
                  </a:lnTo>
                  <a:lnTo>
                    <a:pt x="2122128" y="6674642"/>
                  </a:lnTo>
                  <a:lnTo>
                    <a:pt x="2117426" y="6726800"/>
                  </a:lnTo>
                  <a:lnTo>
                    <a:pt x="2112925" y="6773077"/>
                  </a:lnTo>
                  <a:lnTo>
                    <a:pt x="2108734" y="6813303"/>
                  </a:lnTo>
                  <a:lnTo>
                    <a:pt x="2103778" y="6857978"/>
                  </a:lnTo>
                  <a:lnTo>
                    <a:pt x="2130046" y="6857978"/>
                  </a:lnTo>
                  <a:lnTo>
                    <a:pt x="2166961" y="6816284"/>
                  </a:lnTo>
                  <a:lnTo>
                    <a:pt x="2200212" y="6778081"/>
                  </a:lnTo>
                  <a:lnTo>
                    <a:pt x="2233187" y="6739597"/>
                  </a:lnTo>
                  <a:lnTo>
                    <a:pt x="2265884" y="6700836"/>
                  </a:lnTo>
                  <a:lnTo>
                    <a:pt x="2298300" y="6661801"/>
                  </a:lnTo>
                  <a:lnTo>
                    <a:pt x="2330433" y="6622494"/>
                  </a:lnTo>
                  <a:lnTo>
                    <a:pt x="2362281" y="6582919"/>
                  </a:lnTo>
                  <a:lnTo>
                    <a:pt x="2393841" y="6543080"/>
                  </a:lnTo>
                  <a:lnTo>
                    <a:pt x="2425111" y="6502978"/>
                  </a:lnTo>
                  <a:lnTo>
                    <a:pt x="2456089" y="6462618"/>
                  </a:lnTo>
                  <a:lnTo>
                    <a:pt x="2486772" y="6422003"/>
                  </a:lnTo>
                  <a:lnTo>
                    <a:pt x="2517158" y="6381134"/>
                  </a:lnTo>
                  <a:lnTo>
                    <a:pt x="2547244" y="6340017"/>
                  </a:lnTo>
                  <a:lnTo>
                    <a:pt x="2577029" y="6298653"/>
                  </a:lnTo>
                  <a:lnTo>
                    <a:pt x="2606510" y="6257046"/>
                  </a:lnTo>
                  <a:lnTo>
                    <a:pt x="2635684" y="6215199"/>
                  </a:lnTo>
                  <a:lnTo>
                    <a:pt x="2664549" y="6173116"/>
                  </a:lnTo>
                  <a:lnTo>
                    <a:pt x="2693103" y="6130798"/>
                  </a:lnTo>
                  <a:lnTo>
                    <a:pt x="2721344" y="6088250"/>
                  </a:lnTo>
                  <a:lnTo>
                    <a:pt x="2749269" y="6045475"/>
                  </a:lnTo>
                  <a:lnTo>
                    <a:pt x="2776876" y="6002475"/>
                  </a:lnTo>
                  <a:lnTo>
                    <a:pt x="2804162" y="5959254"/>
                  </a:lnTo>
                  <a:lnTo>
                    <a:pt x="2831125" y="5915815"/>
                  </a:lnTo>
                  <a:lnTo>
                    <a:pt x="2857764" y="5872161"/>
                  </a:lnTo>
                  <a:lnTo>
                    <a:pt x="2884074" y="5828294"/>
                  </a:lnTo>
                  <a:lnTo>
                    <a:pt x="2910055" y="5784219"/>
                  </a:lnTo>
                  <a:lnTo>
                    <a:pt x="2945456" y="5722913"/>
                  </a:lnTo>
                  <a:lnTo>
                    <a:pt x="2980106" y="5661454"/>
                  </a:lnTo>
                  <a:lnTo>
                    <a:pt x="3014012" y="5599854"/>
                  </a:lnTo>
                  <a:lnTo>
                    <a:pt x="3047180" y="5538120"/>
                  </a:lnTo>
                  <a:lnTo>
                    <a:pt x="3079619" y="5476264"/>
                  </a:lnTo>
                  <a:lnTo>
                    <a:pt x="3111336" y="5414293"/>
                  </a:lnTo>
                  <a:lnTo>
                    <a:pt x="3142338" y="5352217"/>
                  </a:lnTo>
                  <a:lnTo>
                    <a:pt x="3172633" y="5290046"/>
                  </a:lnTo>
                  <a:lnTo>
                    <a:pt x="3195691" y="5241539"/>
                  </a:lnTo>
                  <a:lnTo>
                    <a:pt x="31956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6"/>
            <p:cNvSpPr/>
            <p:nvPr/>
          </p:nvSpPr>
          <p:spPr>
            <a:xfrm>
              <a:off x="8984279" y="12696"/>
              <a:ext cx="3208020" cy="6845300"/>
            </a:xfrm>
            <a:custGeom>
              <a:avLst/>
              <a:gdLst/>
              <a:ahLst/>
              <a:cxnLst/>
              <a:rect l="l" t="t" r="r" b="b"/>
              <a:pathLst>
                <a:path w="3208020" h="6845300">
                  <a:moveTo>
                    <a:pt x="42501" y="0"/>
                  </a:moveTo>
                  <a:lnTo>
                    <a:pt x="0" y="0"/>
                  </a:lnTo>
                  <a:lnTo>
                    <a:pt x="47194" y="50800"/>
                  </a:lnTo>
                  <a:lnTo>
                    <a:pt x="93712" y="88900"/>
                  </a:lnTo>
                  <a:lnTo>
                    <a:pt x="139558" y="139700"/>
                  </a:lnTo>
                  <a:lnTo>
                    <a:pt x="184736" y="190500"/>
                  </a:lnTo>
                  <a:lnTo>
                    <a:pt x="229252" y="241300"/>
                  </a:lnTo>
                  <a:lnTo>
                    <a:pt x="273110" y="279400"/>
                  </a:lnTo>
                  <a:lnTo>
                    <a:pt x="316315" y="330200"/>
                  </a:lnTo>
                  <a:lnTo>
                    <a:pt x="358872" y="381000"/>
                  </a:lnTo>
                  <a:lnTo>
                    <a:pt x="400784" y="431800"/>
                  </a:lnTo>
                  <a:lnTo>
                    <a:pt x="442058" y="482600"/>
                  </a:lnTo>
                  <a:lnTo>
                    <a:pt x="482697" y="533400"/>
                  </a:lnTo>
                  <a:lnTo>
                    <a:pt x="522707" y="584200"/>
                  </a:lnTo>
                  <a:lnTo>
                    <a:pt x="562092" y="635000"/>
                  </a:lnTo>
                  <a:lnTo>
                    <a:pt x="600856" y="685800"/>
                  </a:lnTo>
                  <a:lnTo>
                    <a:pt x="639005" y="736600"/>
                  </a:lnTo>
                  <a:lnTo>
                    <a:pt x="676544" y="787400"/>
                  </a:lnTo>
                  <a:lnTo>
                    <a:pt x="713476" y="838200"/>
                  </a:lnTo>
                  <a:lnTo>
                    <a:pt x="749807" y="889000"/>
                  </a:lnTo>
                  <a:lnTo>
                    <a:pt x="785541" y="939800"/>
                  </a:lnTo>
                  <a:lnTo>
                    <a:pt x="820683" y="990600"/>
                  </a:lnTo>
                  <a:lnTo>
                    <a:pt x="855239" y="1041400"/>
                  </a:lnTo>
                  <a:lnTo>
                    <a:pt x="889211" y="1092200"/>
                  </a:lnTo>
                  <a:lnTo>
                    <a:pt x="922606" y="1143000"/>
                  </a:lnTo>
                  <a:lnTo>
                    <a:pt x="955428" y="1193800"/>
                  </a:lnTo>
                  <a:lnTo>
                    <a:pt x="987682" y="1244600"/>
                  </a:lnTo>
                  <a:lnTo>
                    <a:pt x="1019372" y="1295400"/>
                  </a:lnTo>
                  <a:lnTo>
                    <a:pt x="1050503" y="1346200"/>
                  </a:lnTo>
                  <a:lnTo>
                    <a:pt x="1081079" y="1409700"/>
                  </a:lnTo>
                  <a:lnTo>
                    <a:pt x="1111107" y="1460500"/>
                  </a:lnTo>
                  <a:lnTo>
                    <a:pt x="1140589" y="1511300"/>
                  </a:lnTo>
                  <a:lnTo>
                    <a:pt x="1169531" y="1562100"/>
                  </a:lnTo>
                  <a:lnTo>
                    <a:pt x="1197939" y="1612900"/>
                  </a:lnTo>
                  <a:lnTo>
                    <a:pt x="1225815" y="1676400"/>
                  </a:lnTo>
                  <a:lnTo>
                    <a:pt x="1253165" y="1727200"/>
                  </a:lnTo>
                  <a:lnTo>
                    <a:pt x="1279995" y="1778000"/>
                  </a:lnTo>
                  <a:lnTo>
                    <a:pt x="1306307" y="1828800"/>
                  </a:lnTo>
                  <a:lnTo>
                    <a:pt x="1332108" y="1879600"/>
                  </a:lnTo>
                  <a:lnTo>
                    <a:pt x="1357402" y="1943100"/>
                  </a:lnTo>
                  <a:lnTo>
                    <a:pt x="1382194" y="1993900"/>
                  </a:lnTo>
                  <a:lnTo>
                    <a:pt x="1406488" y="2044700"/>
                  </a:lnTo>
                  <a:lnTo>
                    <a:pt x="1430289" y="2095500"/>
                  </a:lnTo>
                  <a:lnTo>
                    <a:pt x="1453601" y="2159000"/>
                  </a:lnTo>
                  <a:lnTo>
                    <a:pt x="1476431" y="2209800"/>
                  </a:lnTo>
                  <a:lnTo>
                    <a:pt x="1498781" y="2260600"/>
                  </a:lnTo>
                  <a:lnTo>
                    <a:pt x="1520657" y="2311400"/>
                  </a:lnTo>
                  <a:lnTo>
                    <a:pt x="1542064" y="2374900"/>
                  </a:lnTo>
                  <a:lnTo>
                    <a:pt x="1563006" y="2425700"/>
                  </a:lnTo>
                  <a:lnTo>
                    <a:pt x="1583489" y="2476500"/>
                  </a:lnTo>
                  <a:lnTo>
                    <a:pt x="1603516" y="2540000"/>
                  </a:lnTo>
                  <a:lnTo>
                    <a:pt x="1623092" y="2590800"/>
                  </a:lnTo>
                  <a:lnTo>
                    <a:pt x="1642223" y="2641600"/>
                  </a:lnTo>
                  <a:lnTo>
                    <a:pt x="1660913" y="2692400"/>
                  </a:lnTo>
                  <a:lnTo>
                    <a:pt x="1679166" y="2755900"/>
                  </a:lnTo>
                  <a:lnTo>
                    <a:pt x="1696988" y="2806700"/>
                  </a:lnTo>
                  <a:lnTo>
                    <a:pt x="1714382" y="2857500"/>
                  </a:lnTo>
                  <a:lnTo>
                    <a:pt x="1731355" y="2908300"/>
                  </a:lnTo>
                  <a:lnTo>
                    <a:pt x="1747909" y="2971800"/>
                  </a:lnTo>
                  <a:lnTo>
                    <a:pt x="1764051" y="3022600"/>
                  </a:lnTo>
                  <a:lnTo>
                    <a:pt x="1779785" y="3073400"/>
                  </a:lnTo>
                  <a:lnTo>
                    <a:pt x="1795116" y="3124200"/>
                  </a:lnTo>
                  <a:lnTo>
                    <a:pt x="1810048" y="3175000"/>
                  </a:lnTo>
                  <a:lnTo>
                    <a:pt x="1824586" y="3238500"/>
                  </a:lnTo>
                  <a:lnTo>
                    <a:pt x="1838734" y="3289300"/>
                  </a:lnTo>
                  <a:lnTo>
                    <a:pt x="1852498" y="3340100"/>
                  </a:lnTo>
                  <a:lnTo>
                    <a:pt x="1865883" y="3390900"/>
                  </a:lnTo>
                  <a:lnTo>
                    <a:pt x="1878892" y="3441700"/>
                  </a:lnTo>
                  <a:lnTo>
                    <a:pt x="1891530" y="3492500"/>
                  </a:lnTo>
                  <a:lnTo>
                    <a:pt x="1903803" y="3556000"/>
                  </a:lnTo>
                  <a:lnTo>
                    <a:pt x="1915716" y="3606800"/>
                  </a:lnTo>
                  <a:lnTo>
                    <a:pt x="1927271" y="3657600"/>
                  </a:lnTo>
                  <a:lnTo>
                    <a:pt x="1938476" y="3708400"/>
                  </a:lnTo>
                  <a:lnTo>
                    <a:pt x="1949333" y="3759200"/>
                  </a:lnTo>
                  <a:lnTo>
                    <a:pt x="1959848" y="3810000"/>
                  </a:lnTo>
                  <a:lnTo>
                    <a:pt x="1970026" y="3860800"/>
                  </a:lnTo>
                  <a:lnTo>
                    <a:pt x="1979871" y="3911600"/>
                  </a:lnTo>
                  <a:lnTo>
                    <a:pt x="1989389" y="3962400"/>
                  </a:lnTo>
                  <a:lnTo>
                    <a:pt x="1998582" y="4013200"/>
                  </a:lnTo>
                  <a:lnTo>
                    <a:pt x="2007458" y="4064000"/>
                  </a:lnTo>
                  <a:lnTo>
                    <a:pt x="2016019" y="4114800"/>
                  </a:lnTo>
                  <a:lnTo>
                    <a:pt x="2024272" y="4165600"/>
                  </a:lnTo>
                  <a:lnTo>
                    <a:pt x="2032220" y="4216400"/>
                  </a:lnTo>
                  <a:lnTo>
                    <a:pt x="2039868" y="4267200"/>
                  </a:lnTo>
                  <a:lnTo>
                    <a:pt x="2047221" y="4318000"/>
                  </a:lnTo>
                  <a:lnTo>
                    <a:pt x="2054284" y="4368800"/>
                  </a:lnTo>
                  <a:lnTo>
                    <a:pt x="2061061" y="4419600"/>
                  </a:lnTo>
                  <a:lnTo>
                    <a:pt x="2067558" y="4470400"/>
                  </a:lnTo>
                  <a:lnTo>
                    <a:pt x="2073778" y="4521200"/>
                  </a:lnTo>
                  <a:lnTo>
                    <a:pt x="2079727" y="4559300"/>
                  </a:lnTo>
                  <a:lnTo>
                    <a:pt x="2085410" y="4610100"/>
                  </a:lnTo>
                  <a:lnTo>
                    <a:pt x="2090830" y="4660900"/>
                  </a:lnTo>
                  <a:lnTo>
                    <a:pt x="2095993" y="4711700"/>
                  </a:lnTo>
                  <a:lnTo>
                    <a:pt x="2100903" y="4749800"/>
                  </a:lnTo>
                  <a:lnTo>
                    <a:pt x="2105566" y="4800600"/>
                  </a:lnTo>
                  <a:lnTo>
                    <a:pt x="2109985" y="4851400"/>
                  </a:lnTo>
                  <a:lnTo>
                    <a:pt x="2114166" y="4889500"/>
                  </a:lnTo>
                  <a:lnTo>
                    <a:pt x="2118113" y="4940300"/>
                  </a:lnTo>
                  <a:lnTo>
                    <a:pt x="2121831" y="4991100"/>
                  </a:lnTo>
                  <a:lnTo>
                    <a:pt x="2125325" y="5029200"/>
                  </a:lnTo>
                  <a:lnTo>
                    <a:pt x="2128599" y="5080000"/>
                  </a:lnTo>
                  <a:lnTo>
                    <a:pt x="2131659" y="5118100"/>
                  </a:lnTo>
                  <a:lnTo>
                    <a:pt x="2134508" y="5168900"/>
                  </a:lnTo>
                  <a:lnTo>
                    <a:pt x="2137152" y="5207000"/>
                  </a:lnTo>
                  <a:lnTo>
                    <a:pt x="2139595" y="5257800"/>
                  </a:lnTo>
                  <a:lnTo>
                    <a:pt x="2141842" y="5295900"/>
                  </a:lnTo>
                  <a:lnTo>
                    <a:pt x="2143898" y="5334000"/>
                  </a:lnTo>
                  <a:lnTo>
                    <a:pt x="2145767" y="5384800"/>
                  </a:lnTo>
                  <a:lnTo>
                    <a:pt x="2147454" y="5422900"/>
                  </a:lnTo>
                  <a:lnTo>
                    <a:pt x="2148964" y="5461000"/>
                  </a:lnTo>
                  <a:lnTo>
                    <a:pt x="2150302" y="5499100"/>
                  </a:lnTo>
                  <a:lnTo>
                    <a:pt x="2151471" y="5549900"/>
                  </a:lnTo>
                  <a:lnTo>
                    <a:pt x="2152478" y="5588000"/>
                  </a:lnTo>
                  <a:lnTo>
                    <a:pt x="2153327" y="5626100"/>
                  </a:lnTo>
                  <a:lnTo>
                    <a:pt x="2154022" y="5664200"/>
                  </a:lnTo>
                  <a:lnTo>
                    <a:pt x="2154568" y="5702300"/>
                  </a:lnTo>
                  <a:lnTo>
                    <a:pt x="2154969" y="5740400"/>
                  </a:lnTo>
                  <a:lnTo>
                    <a:pt x="2155232" y="5778500"/>
                  </a:lnTo>
                  <a:lnTo>
                    <a:pt x="2155314" y="5867400"/>
                  </a:lnTo>
                  <a:lnTo>
                    <a:pt x="2155229" y="5892800"/>
                  </a:lnTo>
                  <a:lnTo>
                    <a:pt x="2154981" y="5930900"/>
                  </a:lnTo>
                  <a:lnTo>
                    <a:pt x="2154616" y="5956300"/>
                  </a:lnTo>
                  <a:lnTo>
                    <a:pt x="2154141" y="5994400"/>
                  </a:lnTo>
                  <a:lnTo>
                    <a:pt x="2153559" y="6032500"/>
                  </a:lnTo>
                  <a:lnTo>
                    <a:pt x="2152875" y="6057900"/>
                  </a:lnTo>
                  <a:lnTo>
                    <a:pt x="2152094" y="6096000"/>
                  </a:lnTo>
                  <a:lnTo>
                    <a:pt x="2151221" y="6134100"/>
                  </a:lnTo>
                  <a:lnTo>
                    <a:pt x="2150261" y="6159500"/>
                  </a:lnTo>
                  <a:lnTo>
                    <a:pt x="2149217" y="6197600"/>
                  </a:lnTo>
                  <a:lnTo>
                    <a:pt x="2148095" y="6223000"/>
                  </a:lnTo>
                  <a:lnTo>
                    <a:pt x="2146900" y="6248400"/>
                  </a:lnTo>
                  <a:lnTo>
                    <a:pt x="2145636" y="6286500"/>
                  </a:lnTo>
                  <a:lnTo>
                    <a:pt x="2144307" y="6311900"/>
                  </a:lnTo>
                  <a:lnTo>
                    <a:pt x="2142920" y="6337300"/>
                  </a:lnTo>
                  <a:lnTo>
                    <a:pt x="2141478" y="6375400"/>
                  </a:lnTo>
                  <a:lnTo>
                    <a:pt x="2138448" y="6426200"/>
                  </a:lnTo>
                  <a:lnTo>
                    <a:pt x="2135257" y="6477000"/>
                  </a:lnTo>
                  <a:lnTo>
                    <a:pt x="2130249" y="6553200"/>
                  </a:lnTo>
                  <a:lnTo>
                    <a:pt x="2126817" y="6591300"/>
                  </a:lnTo>
                  <a:lnTo>
                    <a:pt x="2123356" y="6642100"/>
                  </a:lnTo>
                  <a:lnTo>
                    <a:pt x="2121626" y="6654800"/>
                  </a:lnTo>
                  <a:lnTo>
                    <a:pt x="2119902" y="6680200"/>
                  </a:lnTo>
                  <a:lnTo>
                    <a:pt x="2118190" y="6692900"/>
                  </a:lnTo>
                  <a:lnTo>
                    <a:pt x="2116494" y="6718300"/>
                  </a:lnTo>
                  <a:lnTo>
                    <a:pt x="2113169" y="6743700"/>
                  </a:lnTo>
                  <a:lnTo>
                    <a:pt x="2111549" y="6769100"/>
                  </a:lnTo>
                  <a:lnTo>
                    <a:pt x="2109964" y="6781800"/>
                  </a:lnTo>
                  <a:lnTo>
                    <a:pt x="2108419" y="6794500"/>
                  </a:lnTo>
                  <a:lnTo>
                    <a:pt x="2106918" y="6807200"/>
                  </a:lnTo>
                  <a:lnTo>
                    <a:pt x="2105466" y="6819900"/>
                  </a:lnTo>
                  <a:lnTo>
                    <a:pt x="2102050" y="6845300"/>
                  </a:lnTo>
                  <a:lnTo>
                    <a:pt x="2130517" y="6845300"/>
                  </a:lnTo>
                  <a:lnTo>
                    <a:pt x="2131062" y="6832600"/>
                  </a:lnTo>
                  <a:lnTo>
                    <a:pt x="2132560" y="6832600"/>
                  </a:lnTo>
                  <a:lnTo>
                    <a:pt x="2135560" y="6794500"/>
                  </a:lnTo>
                  <a:lnTo>
                    <a:pt x="2138717" y="6769100"/>
                  </a:lnTo>
                  <a:lnTo>
                    <a:pt x="2141997" y="6731000"/>
                  </a:lnTo>
                  <a:lnTo>
                    <a:pt x="2145363" y="6705600"/>
                  </a:lnTo>
                  <a:lnTo>
                    <a:pt x="2148782" y="6654800"/>
                  </a:lnTo>
                  <a:lnTo>
                    <a:pt x="2155637" y="6578600"/>
                  </a:lnTo>
                  <a:lnTo>
                    <a:pt x="2159004" y="6527800"/>
                  </a:lnTo>
                  <a:lnTo>
                    <a:pt x="2162283" y="6477000"/>
                  </a:lnTo>
                  <a:lnTo>
                    <a:pt x="2165439" y="6426200"/>
                  </a:lnTo>
                  <a:lnTo>
                    <a:pt x="2168438" y="6375400"/>
                  </a:lnTo>
                  <a:lnTo>
                    <a:pt x="2171246" y="6324600"/>
                  </a:lnTo>
                  <a:lnTo>
                    <a:pt x="2173826" y="6261100"/>
                  </a:lnTo>
                  <a:lnTo>
                    <a:pt x="2176144" y="6197600"/>
                  </a:lnTo>
                  <a:lnTo>
                    <a:pt x="2178165" y="6146800"/>
                  </a:lnTo>
                  <a:lnTo>
                    <a:pt x="2179854" y="6070600"/>
                  </a:lnTo>
                  <a:lnTo>
                    <a:pt x="2181176" y="6007100"/>
                  </a:lnTo>
                  <a:lnTo>
                    <a:pt x="2182097" y="5943600"/>
                  </a:lnTo>
                  <a:lnTo>
                    <a:pt x="2182581" y="5867400"/>
                  </a:lnTo>
                  <a:lnTo>
                    <a:pt x="2182474" y="5778500"/>
                  </a:lnTo>
                  <a:lnTo>
                    <a:pt x="2182294" y="5740400"/>
                  </a:lnTo>
                  <a:lnTo>
                    <a:pt x="2181744" y="5689600"/>
                  </a:lnTo>
                  <a:lnTo>
                    <a:pt x="2180944" y="5638800"/>
                  </a:lnTo>
                  <a:lnTo>
                    <a:pt x="2179896" y="5588000"/>
                  </a:lnTo>
                  <a:lnTo>
                    <a:pt x="2178599" y="5537200"/>
                  </a:lnTo>
                  <a:lnTo>
                    <a:pt x="2177052" y="5486400"/>
                  </a:lnTo>
                  <a:lnTo>
                    <a:pt x="2175258" y="5435600"/>
                  </a:lnTo>
                  <a:lnTo>
                    <a:pt x="2173216" y="5384800"/>
                  </a:lnTo>
                  <a:lnTo>
                    <a:pt x="2170925" y="5334000"/>
                  </a:lnTo>
                  <a:lnTo>
                    <a:pt x="2168388" y="5283200"/>
                  </a:lnTo>
                  <a:lnTo>
                    <a:pt x="2165603" y="5232400"/>
                  </a:lnTo>
                  <a:lnTo>
                    <a:pt x="2162571" y="5181600"/>
                  </a:lnTo>
                  <a:lnTo>
                    <a:pt x="2159292" y="5130800"/>
                  </a:lnTo>
                  <a:lnTo>
                    <a:pt x="2155767" y="5067300"/>
                  </a:lnTo>
                  <a:lnTo>
                    <a:pt x="2151996" y="5016500"/>
                  </a:lnTo>
                  <a:lnTo>
                    <a:pt x="2147980" y="4965700"/>
                  </a:lnTo>
                  <a:lnTo>
                    <a:pt x="2143717" y="4914900"/>
                  </a:lnTo>
                  <a:lnTo>
                    <a:pt x="2139210" y="4864100"/>
                  </a:lnTo>
                  <a:lnTo>
                    <a:pt x="2134458" y="4813300"/>
                  </a:lnTo>
                  <a:lnTo>
                    <a:pt x="2129461" y="4762500"/>
                  </a:lnTo>
                  <a:lnTo>
                    <a:pt x="2124219" y="4711700"/>
                  </a:lnTo>
                  <a:lnTo>
                    <a:pt x="2118734" y="4660900"/>
                  </a:lnTo>
                  <a:lnTo>
                    <a:pt x="2113005" y="4610100"/>
                  </a:lnTo>
                  <a:lnTo>
                    <a:pt x="2107032" y="4559300"/>
                  </a:lnTo>
                  <a:lnTo>
                    <a:pt x="2100816" y="4508500"/>
                  </a:lnTo>
                  <a:lnTo>
                    <a:pt x="2094357" y="4457700"/>
                  </a:lnTo>
                  <a:lnTo>
                    <a:pt x="2087656" y="4406900"/>
                  </a:lnTo>
                  <a:lnTo>
                    <a:pt x="2080712" y="4356100"/>
                  </a:lnTo>
                  <a:lnTo>
                    <a:pt x="2073526" y="4318000"/>
                  </a:lnTo>
                  <a:lnTo>
                    <a:pt x="2066099" y="4267200"/>
                  </a:lnTo>
                  <a:lnTo>
                    <a:pt x="2058430" y="4216400"/>
                  </a:lnTo>
                  <a:lnTo>
                    <a:pt x="2050519" y="4165600"/>
                  </a:lnTo>
                  <a:lnTo>
                    <a:pt x="2042368" y="4114800"/>
                  </a:lnTo>
                  <a:lnTo>
                    <a:pt x="2033976" y="4064000"/>
                  </a:lnTo>
                  <a:lnTo>
                    <a:pt x="2025344" y="4013200"/>
                  </a:lnTo>
                  <a:lnTo>
                    <a:pt x="2015985" y="3962400"/>
                  </a:lnTo>
                  <a:lnTo>
                    <a:pt x="2006362" y="3911600"/>
                  </a:lnTo>
                  <a:lnTo>
                    <a:pt x="1996475" y="3860800"/>
                  </a:lnTo>
                  <a:lnTo>
                    <a:pt x="1986325" y="3810000"/>
                  </a:lnTo>
                  <a:lnTo>
                    <a:pt x="1975913" y="3759200"/>
                  </a:lnTo>
                  <a:lnTo>
                    <a:pt x="1965238" y="3708400"/>
                  </a:lnTo>
                  <a:lnTo>
                    <a:pt x="1954301" y="3657600"/>
                  </a:lnTo>
                  <a:lnTo>
                    <a:pt x="1943102" y="3606800"/>
                  </a:lnTo>
                  <a:lnTo>
                    <a:pt x="1931643" y="3556000"/>
                  </a:lnTo>
                  <a:lnTo>
                    <a:pt x="1919922" y="3505200"/>
                  </a:lnTo>
                  <a:lnTo>
                    <a:pt x="1907942" y="3454400"/>
                  </a:lnTo>
                  <a:lnTo>
                    <a:pt x="1895701" y="3403600"/>
                  </a:lnTo>
                  <a:lnTo>
                    <a:pt x="1883201" y="3352800"/>
                  </a:lnTo>
                  <a:lnTo>
                    <a:pt x="1870441" y="3302000"/>
                  </a:lnTo>
                  <a:lnTo>
                    <a:pt x="1857423" y="3251200"/>
                  </a:lnTo>
                  <a:lnTo>
                    <a:pt x="1844146" y="3200400"/>
                  </a:lnTo>
                  <a:lnTo>
                    <a:pt x="1830612" y="3149600"/>
                  </a:lnTo>
                  <a:lnTo>
                    <a:pt x="1816819" y="3098800"/>
                  </a:lnTo>
                  <a:lnTo>
                    <a:pt x="1802770" y="3060700"/>
                  </a:lnTo>
                  <a:lnTo>
                    <a:pt x="1788464" y="3009900"/>
                  </a:lnTo>
                  <a:lnTo>
                    <a:pt x="1773901" y="2959100"/>
                  </a:lnTo>
                  <a:lnTo>
                    <a:pt x="1759083" y="2908300"/>
                  </a:lnTo>
                  <a:lnTo>
                    <a:pt x="1744009" y="2857500"/>
                  </a:lnTo>
                  <a:lnTo>
                    <a:pt x="1728679" y="2819400"/>
                  </a:lnTo>
                  <a:lnTo>
                    <a:pt x="1713095" y="2768600"/>
                  </a:lnTo>
                  <a:lnTo>
                    <a:pt x="1697257" y="2717800"/>
                  </a:lnTo>
                  <a:lnTo>
                    <a:pt x="1681164" y="2667000"/>
                  </a:lnTo>
                  <a:lnTo>
                    <a:pt x="1664818" y="2628900"/>
                  </a:lnTo>
                  <a:lnTo>
                    <a:pt x="1648219" y="2578100"/>
                  </a:lnTo>
                  <a:lnTo>
                    <a:pt x="1631367" y="2527300"/>
                  </a:lnTo>
                  <a:lnTo>
                    <a:pt x="1614262" y="2489200"/>
                  </a:lnTo>
                  <a:lnTo>
                    <a:pt x="1596906" y="2438400"/>
                  </a:lnTo>
                  <a:lnTo>
                    <a:pt x="1579298" y="2387600"/>
                  </a:lnTo>
                  <a:lnTo>
                    <a:pt x="1561438" y="2349500"/>
                  </a:lnTo>
                  <a:lnTo>
                    <a:pt x="1543328" y="2298700"/>
                  </a:lnTo>
                  <a:lnTo>
                    <a:pt x="1524967" y="2260600"/>
                  </a:lnTo>
                  <a:lnTo>
                    <a:pt x="1506357" y="2209800"/>
                  </a:lnTo>
                  <a:lnTo>
                    <a:pt x="1487497" y="2171700"/>
                  </a:lnTo>
                  <a:lnTo>
                    <a:pt x="1468387" y="2120900"/>
                  </a:lnTo>
                  <a:lnTo>
                    <a:pt x="1449029" y="2070100"/>
                  </a:lnTo>
                  <a:lnTo>
                    <a:pt x="1429422" y="2032000"/>
                  </a:lnTo>
                  <a:lnTo>
                    <a:pt x="1409567" y="1993900"/>
                  </a:lnTo>
                  <a:lnTo>
                    <a:pt x="1389465" y="1943100"/>
                  </a:lnTo>
                  <a:lnTo>
                    <a:pt x="1369115" y="1905000"/>
                  </a:lnTo>
                  <a:lnTo>
                    <a:pt x="1346786" y="1854200"/>
                  </a:lnTo>
                  <a:lnTo>
                    <a:pt x="1324157" y="1803400"/>
                  </a:lnTo>
                  <a:lnTo>
                    <a:pt x="1301228" y="1765300"/>
                  </a:lnTo>
                  <a:lnTo>
                    <a:pt x="1278001" y="1714500"/>
                  </a:lnTo>
                  <a:lnTo>
                    <a:pt x="1254476" y="1663700"/>
                  </a:lnTo>
                  <a:lnTo>
                    <a:pt x="1230654" y="1625600"/>
                  </a:lnTo>
                  <a:lnTo>
                    <a:pt x="1206536" y="1574800"/>
                  </a:lnTo>
                  <a:lnTo>
                    <a:pt x="1182122" y="1536700"/>
                  </a:lnTo>
                  <a:lnTo>
                    <a:pt x="1157413" y="1485900"/>
                  </a:lnTo>
                  <a:lnTo>
                    <a:pt x="1132410" y="1435100"/>
                  </a:lnTo>
                  <a:lnTo>
                    <a:pt x="1107114" y="1397000"/>
                  </a:lnTo>
                  <a:lnTo>
                    <a:pt x="1081525" y="1346200"/>
                  </a:lnTo>
                  <a:lnTo>
                    <a:pt x="1055644" y="1308100"/>
                  </a:lnTo>
                  <a:lnTo>
                    <a:pt x="1029471" y="1270000"/>
                  </a:lnTo>
                  <a:lnTo>
                    <a:pt x="1003009" y="1219200"/>
                  </a:lnTo>
                  <a:lnTo>
                    <a:pt x="976256" y="1181100"/>
                  </a:lnTo>
                  <a:lnTo>
                    <a:pt x="949214" y="1130300"/>
                  </a:lnTo>
                  <a:lnTo>
                    <a:pt x="921884" y="1092200"/>
                  </a:lnTo>
                  <a:lnTo>
                    <a:pt x="894266" y="1054100"/>
                  </a:lnTo>
                  <a:lnTo>
                    <a:pt x="866362" y="1003300"/>
                  </a:lnTo>
                  <a:lnTo>
                    <a:pt x="838171" y="965200"/>
                  </a:lnTo>
                  <a:lnTo>
                    <a:pt x="809694" y="927100"/>
                  </a:lnTo>
                  <a:lnTo>
                    <a:pt x="780933" y="876300"/>
                  </a:lnTo>
                  <a:lnTo>
                    <a:pt x="751888" y="838200"/>
                  </a:lnTo>
                  <a:lnTo>
                    <a:pt x="722559" y="800100"/>
                  </a:lnTo>
                  <a:lnTo>
                    <a:pt x="692948" y="762000"/>
                  </a:lnTo>
                  <a:lnTo>
                    <a:pt x="663055" y="723900"/>
                  </a:lnTo>
                  <a:lnTo>
                    <a:pt x="632881" y="673100"/>
                  </a:lnTo>
                  <a:lnTo>
                    <a:pt x="602427" y="635000"/>
                  </a:lnTo>
                  <a:lnTo>
                    <a:pt x="571693" y="596900"/>
                  </a:lnTo>
                  <a:lnTo>
                    <a:pt x="540680" y="558800"/>
                  </a:lnTo>
                  <a:lnTo>
                    <a:pt x="509388" y="520700"/>
                  </a:lnTo>
                  <a:lnTo>
                    <a:pt x="477820" y="482600"/>
                  </a:lnTo>
                  <a:lnTo>
                    <a:pt x="445974" y="444500"/>
                  </a:lnTo>
                  <a:lnTo>
                    <a:pt x="413852" y="406400"/>
                  </a:lnTo>
                  <a:lnTo>
                    <a:pt x="348784" y="330200"/>
                  </a:lnTo>
                  <a:lnTo>
                    <a:pt x="282619" y="254000"/>
                  </a:lnTo>
                  <a:lnTo>
                    <a:pt x="215365" y="177800"/>
                  </a:lnTo>
                  <a:lnTo>
                    <a:pt x="181332" y="152400"/>
                  </a:lnTo>
                  <a:lnTo>
                    <a:pt x="112454" y="76200"/>
                  </a:lnTo>
                  <a:lnTo>
                    <a:pt x="42501" y="0"/>
                  </a:lnTo>
                  <a:close/>
                </a:path>
                <a:path w="3208020" h="6845300">
                  <a:moveTo>
                    <a:pt x="3207644" y="5207000"/>
                  </a:moveTo>
                  <a:lnTo>
                    <a:pt x="3201615" y="5219700"/>
                  </a:lnTo>
                  <a:lnTo>
                    <a:pt x="3172104" y="5283200"/>
                  </a:lnTo>
                  <a:lnTo>
                    <a:pt x="3141895" y="5334000"/>
                  </a:lnTo>
                  <a:lnTo>
                    <a:pt x="3110982" y="5397500"/>
                  </a:lnTo>
                  <a:lnTo>
                    <a:pt x="3079357" y="5461000"/>
                  </a:lnTo>
                  <a:lnTo>
                    <a:pt x="3047013" y="5524500"/>
                  </a:lnTo>
                  <a:lnTo>
                    <a:pt x="3013943" y="5588000"/>
                  </a:lnTo>
                  <a:lnTo>
                    <a:pt x="2980138" y="5651500"/>
                  </a:lnTo>
                  <a:lnTo>
                    <a:pt x="2945593" y="5715000"/>
                  </a:lnTo>
                  <a:lnTo>
                    <a:pt x="2910299" y="5765800"/>
                  </a:lnTo>
                  <a:lnTo>
                    <a:pt x="2884206" y="5816600"/>
                  </a:lnTo>
                  <a:lnTo>
                    <a:pt x="2857785" y="5854700"/>
                  </a:lnTo>
                  <a:lnTo>
                    <a:pt x="2831037" y="5905500"/>
                  </a:lnTo>
                  <a:lnTo>
                    <a:pt x="2803965" y="5943600"/>
                  </a:lnTo>
                  <a:lnTo>
                    <a:pt x="2776570" y="5994400"/>
                  </a:lnTo>
                  <a:lnTo>
                    <a:pt x="2748856" y="6032500"/>
                  </a:lnTo>
                  <a:lnTo>
                    <a:pt x="2720823" y="6070600"/>
                  </a:lnTo>
                  <a:lnTo>
                    <a:pt x="2692475" y="6121400"/>
                  </a:lnTo>
                  <a:lnTo>
                    <a:pt x="2663812" y="6159500"/>
                  </a:lnTo>
                  <a:lnTo>
                    <a:pt x="2634838" y="6197600"/>
                  </a:lnTo>
                  <a:lnTo>
                    <a:pt x="2605553" y="6248400"/>
                  </a:lnTo>
                  <a:lnTo>
                    <a:pt x="2575961" y="6286500"/>
                  </a:lnTo>
                  <a:lnTo>
                    <a:pt x="2546064" y="6324600"/>
                  </a:lnTo>
                  <a:lnTo>
                    <a:pt x="2515862" y="6375400"/>
                  </a:lnTo>
                  <a:lnTo>
                    <a:pt x="2485359" y="6413500"/>
                  </a:lnTo>
                  <a:lnTo>
                    <a:pt x="2454557" y="6451600"/>
                  </a:lnTo>
                  <a:lnTo>
                    <a:pt x="2423457" y="6489700"/>
                  </a:lnTo>
                  <a:lnTo>
                    <a:pt x="2392062" y="6527800"/>
                  </a:lnTo>
                  <a:lnTo>
                    <a:pt x="2360374" y="6565900"/>
                  </a:lnTo>
                  <a:lnTo>
                    <a:pt x="2328394" y="6616700"/>
                  </a:lnTo>
                  <a:lnTo>
                    <a:pt x="2296126" y="6654800"/>
                  </a:lnTo>
                  <a:lnTo>
                    <a:pt x="2263570" y="6692900"/>
                  </a:lnTo>
                  <a:lnTo>
                    <a:pt x="2197605" y="6769100"/>
                  </a:lnTo>
                  <a:lnTo>
                    <a:pt x="2130517" y="6845300"/>
                  </a:lnTo>
                  <a:lnTo>
                    <a:pt x="2164254" y="6845300"/>
                  </a:lnTo>
                  <a:lnTo>
                    <a:pt x="2198869" y="6807200"/>
                  </a:lnTo>
                  <a:lnTo>
                    <a:pt x="2233064" y="6769100"/>
                  </a:lnTo>
                  <a:lnTo>
                    <a:pt x="2266842" y="6731000"/>
                  </a:lnTo>
                  <a:lnTo>
                    <a:pt x="2300206" y="6692900"/>
                  </a:lnTo>
                  <a:lnTo>
                    <a:pt x="2333156" y="6654800"/>
                  </a:lnTo>
                  <a:lnTo>
                    <a:pt x="2365696" y="6604000"/>
                  </a:lnTo>
                  <a:lnTo>
                    <a:pt x="2397828" y="6565900"/>
                  </a:lnTo>
                  <a:lnTo>
                    <a:pt x="2429555" y="6527800"/>
                  </a:lnTo>
                  <a:lnTo>
                    <a:pt x="2460877" y="6489700"/>
                  </a:lnTo>
                  <a:lnTo>
                    <a:pt x="2491798" y="6451600"/>
                  </a:lnTo>
                  <a:lnTo>
                    <a:pt x="2522320" y="6413500"/>
                  </a:lnTo>
                  <a:lnTo>
                    <a:pt x="2552445" y="6362700"/>
                  </a:lnTo>
                  <a:lnTo>
                    <a:pt x="2582176" y="6324600"/>
                  </a:lnTo>
                  <a:lnTo>
                    <a:pt x="2611514" y="6286500"/>
                  </a:lnTo>
                  <a:lnTo>
                    <a:pt x="2640462" y="6248400"/>
                  </a:lnTo>
                  <a:lnTo>
                    <a:pt x="2669022" y="6197600"/>
                  </a:lnTo>
                  <a:lnTo>
                    <a:pt x="2697196" y="6159500"/>
                  </a:lnTo>
                  <a:lnTo>
                    <a:pt x="2724988" y="6121400"/>
                  </a:lnTo>
                  <a:lnTo>
                    <a:pt x="2752397" y="6083300"/>
                  </a:lnTo>
                  <a:lnTo>
                    <a:pt x="2779429" y="6032500"/>
                  </a:lnTo>
                  <a:lnTo>
                    <a:pt x="2806083" y="5994400"/>
                  </a:lnTo>
                  <a:lnTo>
                    <a:pt x="2832363" y="5956300"/>
                  </a:lnTo>
                  <a:lnTo>
                    <a:pt x="2858271" y="5905500"/>
                  </a:lnTo>
                  <a:lnTo>
                    <a:pt x="2883809" y="5867400"/>
                  </a:lnTo>
                  <a:lnTo>
                    <a:pt x="2908980" y="5829300"/>
                  </a:lnTo>
                  <a:lnTo>
                    <a:pt x="2933785" y="5778500"/>
                  </a:lnTo>
                  <a:lnTo>
                    <a:pt x="2969349" y="5727700"/>
                  </a:lnTo>
                  <a:lnTo>
                    <a:pt x="3004157" y="5664200"/>
                  </a:lnTo>
                  <a:lnTo>
                    <a:pt x="3038214" y="5600700"/>
                  </a:lnTo>
                  <a:lnTo>
                    <a:pt x="3071529" y="5537200"/>
                  </a:lnTo>
                  <a:lnTo>
                    <a:pt x="3104108" y="5473700"/>
                  </a:lnTo>
                  <a:lnTo>
                    <a:pt x="3135960" y="5410200"/>
                  </a:lnTo>
                  <a:lnTo>
                    <a:pt x="3167092" y="5346700"/>
                  </a:lnTo>
                  <a:lnTo>
                    <a:pt x="3197510" y="5283200"/>
                  </a:lnTo>
                  <a:lnTo>
                    <a:pt x="3207644" y="5270500"/>
                  </a:lnTo>
                  <a:lnTo>
                    <a:pt x="3207644" y="520700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7"/>
            <p:cNvSpPr/>
            <p:nvPr/>
          </p:nvSpPr>
          <p:spPr>
            <a:xfrm>
              <a:off x="9698893" y="4561729"/>
              <a:ext cx="1337310" cy="2296795"/>
            </a:xfrm>
            <a:custGeom>
              <a:avLst/>
              <a:gdLst/>
              <a:ahLst/>
              <a:cxnLst/>
              <a:rect l="l" t="t" r="r" b="b"/>
              <a:pathLst>
                <a:path w="1337309" h="2296795">
                  <a:moveTo>
                    <a:pt x="1251983" y="0"/>
                  </a:moveTo>
                  <a:lnTo>
                    <a:pt x="1234284" y="48357"/>
                  </a:lnTo>
                  <a:lnTo>
                    <a:pt x="1219236" y="88337"/>
                  </a:lnTo>
                  <a:lnTo>
                    <a:pt x="1201552" y="134245"/>
                  </a:lnTo>
                  <a:lnTo>
                    <a:pt x="1181199" y="185856"/>
                  </a:lnTo>
                  <a:lnTo>
                    <a:pt x="1158145" y="242943"/>
                  </a:lnTo>
                  <a:lnTo>
                    <a:pt x="1132358" y="305281"/>
                  </a:lnTo>
                  <a:lnTo>
                    <a:pt x="1103804" y="372642"/>
                  </a:lnTo>
                  <a:lnTo>
                    <a:pt x="1088480" y="408136"/>
                  </a:lnTo>
                  <a:lnTo>
                    <a:pt x="1072452" y="444802"/>
                  </a:lnTo>
                  <a:lnTo>
                    <a:pt x="1055717" y="482610"/>
                  </a:lnTo>
                  <a:lnTo>
                    <a:pt x="1038270" y="521533"/>
                  </a:lnTo>
                  <a:lnTo>
                    <a:pt x="1020107" y="561542"/>
                  </a:lnTo>
                  <a:lnTo>
                    <a:pt x="1001224" y="602609"/>
                  </a:lnTo>
                  <a:lnTo>
                    <a:pt x="981617" y="644707"/>
                  </a:lnTo>
                  <a:lnTo>
                    <a:pt x="961283" y="687805"/>
                  </a:lnTo>
                  <a:lnTo>
                    <a:pt x="940216" y="731877"/>
                  </a:lnTo>
                  <a:lnTo>
                    <a:pt x="918413" y="776894"/>
                  </a:lnTo>
                  <a:lnTo>
                    <a:pt x="895871" y="822828"/>
                  </a:lnTo>
                  <a:lnTo>
                    <a:pt x="872584" y="869650"/>
                  </a:lnTo>
                  <a:lnTo>
                    <a:pt x="848549" y="917332"/>
                  </a:lnTo>
                  <a:lnTo>
                    <a:pt x="823762" y="965847"/>
                  </a:lnTo>
                  <a:lnTo>
                    <a:pt x="798218" y="1015164"/>
                  </a:lnTo>
                  <a:lnTo>
                    <a:pt x="771914" y="1065258"/>
                  </a:lnTo>
                  <a:lnTo>
                    <a:pt x="744846" y="1116098"/>
                  </a:lnTo>
                  <a:lnTo>
                    <a:pt x="717009" y="1167657"/>
                  </a:lnTo>
                  <a:lnTo>
                    <a:pt x="688400" y="1219907"/>
                  </a:lnTo>
                  <a:lnTo>
                    <a:pt x="659014" y="1272818"/>
                  </a:lnTo>
                  <a:lnTo>
                    <a:pt x="628848" y="1326364"/>
                  </a:lnTo>
                  <a:lnTo>
                    <a:pt x="597897" y="1380516"/>
                  </a:lnTo>
                  <a:lnTo>
                    <a:pt x="566158" y="1435245"/>
                  </a:lnTo>
                  <a:lnTo>
                    <a:pt x="533626" y="1490523"/>
                  </a:lnTo>
                  <a:lnTo>
                    <a:pt x="500297" y="1546322"/>
                  </a:lnTo>
                  <a:lnTo>
                    <a:pt x="466167" y="1602614"/>
                  </a:lnTo>
                  <a:lnTo>
                    <a:pt x="431232" y="1659370"/>
                  </a:lnTo>
                  <a:lnTo>
                    <a:pt x="395489" y="1716562"/>
                  </a:lnTo>
                  <a:lnTo>
                    <a:pt x="358932" y="1774162"/>
                  </a:lnTo>
                  <a:lnTo>
                    <a:pt x="321558" y="1832141"/>
                  </a:lnTo>
                  <a:lnTo>
                    <a:pt x="283364" y="1890472"/>
                  </a:lnTo>
                  <a:lnTo>
                    <a:pt x="244344" y="1949125"/>
                  </a:lnTo>
                  <a:lnTo>
                    <a:pt x="204495" y="2008074"/>
                  </a:lnTo>
                  <a:lnTo>
                    <a:pt x="163813" y="2067288"/>
                  </a:lnTo>
                  <a:lnTo>
                    <a:pt x="122294" y="2126741"/>
                  </a:lnTo>
                  <a:lnTo>
                    <a:pt x="79933" y="2186404"/>
                  </a:lnTo>
                  <a:lnTo>
                    <a:pt x="36727" y="2246248"/>
                  </a:lnTo>
                  <a:lnTo>
                    <a:pt x="0" y="2296266"/>
                  </a:lnTo>
                  <a:lnTo>
                    <a:pt x="1284979" y="2296266"/>
                  </a:lnTo>
                  <a:lnTo>
                    <a:pt x="1291915" y="2234701"/>
                  </a:lnTo>
                  <a:lnTo>
                    <a:pt x="1297477" y="2180315"/>
                  </a:lnTo>
                  <a:lnTo>
                    <a:pt x="1303302" y="2117872"/>
                  </a:lnTo>
                  <a:lnTo>
                    <a:pt x="1309203" y="2047638"/>
                  </a:lnTo>
                  <a:lnTo>
                    <a:pt x="1312241" y="2008074"/>
                  </a:lnTo>
                  <a:lnTo>
                    <a:pt x="1314996" y="1969876"/>
                  </a:lnTo>
                  <a:lnTo>
                    <a:pt x="1317792" y="1928256"/>
                  </a:lnTo>
                  <a:lnTo>
                    <a:pt x="1320492" y="1884854"/>
                  </a:lnTo>
                  <a:lnTo>
                    <a:pt x="1323072" y="1839703"/>
                  </a:lnTo>
                  <a:lnTo>
                    <a:pt x="1325507" y="1792835"/>
                  </a:lnTo>
                  <a:lnTo>
                    <a:pt x="1327776" y="1744285"/>
                  </a:lnTo>
                  <a:lnTo>
                    <a:pt x="1329854" y="1694086"/>
                  </a:lnTo>
                  <a:lnTo>
                    <a:pt x="1331720" y="1642270"/>
                  </a:lnTo>
                  <a:lnTo>
                    <a:pt x="1333348" y="1588871"/>
                  </a:lnTo>
                  <a:lnTo>
                    <a:pt x="1334717" y="1533922"/>
                  </a:lnTo>
                  <a:lnTo>
                    <a:pt x="1335802" y="1477457"/>
                  </a:lnTo>
                  <a:lnTo>
                    <a:pt x="1336581" y="1419507"/>
                  </a:lnTo>
                  <a:lnTo>
                    <a:pt x="1337030" y="1360107"/>
                  </a:lnTo>
                  <a:lnTo>
                    <a:pt x="1337007" y="1272818"/>
                  </a:lnTo>
                  <a:lnTo>
                    <a:pt x="1336166" y="1173535"/>
                  </a:lnTo>
                  <a:lnTo>
                    <a:pt x="1335064" y="1108664"/>
                  </a:lnTo>
                  <a:lnTo>
                    <a:pt x="1333516" y="1042508"/>
                  </a:lnTo>
                  <a:lnTo>
                    <a:pt x="1331498" y="975101"/>
                  </a:lnTo>
                  <a:lnTo>
                    <a:pt x="1328988" y="906476"/>
                  </a:lnTo>
                  <a:lnTo>
                    <a:pt x="1325962" y="836665"/>
                  </a:lnTo>
                  <a:lnTo>
                    <a:pt x="1322397" y="765702"/>
                  </a:lnTo>
                  <a:lnTo>
                    <a:pt x="1318270" y="693620"/>
                  </a:lnTo>
                  <a:lnTo>
                    <a:pt x="1313557" y="620452"/>
                  </a:lnTo>
                  <a:lnTo>
                    <a:pt x="1308235" y="546231"/>
                  </a:lnTo>
                  <a:lnTo>
                    <a:pt x="1302281" y="470991"/>
                  </a:lnTo>
                  <a:lnTo>
                    <a:pt x="1295672" y="394765"/>
                  </a:lnTo>
                  <a:lnTo>
                    <a:pt x="1288385" y="317586"/>
                  </a:lnTo>
                  <a:lnTo>
                    <a:pt x="1280395" y="239486"/>
                  </a:lnTo>
                  <a:lnTo>
                    <a:pt x="1271680" y="160500"/>
                  </a:lnTo>
                  <a:lnTo>
                    <a:pt x="1262217" y="80660"/>
                  </a:lnTo>
                  <a:lnTo>
                    <a:pt x="125198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" name="object 8"/>
            <p:cNvSpPr/>
            <p:nvPr/>
          </p:nvSpPr>
          <p:spPr>
            <a:xfrm>
              <a:off x="9681845" y="4503006"/>
              <a:ext cx="1361440" cy="2355215"/>
            </a:xfrm>
            <a:custGeom>
              <a:avLst/>
              <a:gdLst/>
              <a:ahLst/>
              <a:cxnLst/>
              <a:rect l="l" t="t" r="r" b="b"/>
              <a:pathLst>
                <a:path w="1361440" h="2355215">
                  <a:moveTo>
                    <a:pt x="1274680" y="0"/>
                  </a:moveTo>
                  <a:lnTo>
                    <a:pt x="1260058" y="42350"/>
                  </a:lnTo>
                  <a:lnTo>
                    <a:pt x="1241810" y="92613"/>
                  </a:lnTo>
                  <a:lnTo>
                    <a:pt x="1225496" y="136140"/>
                  </a:lnTo>
                  <a:lnTo>
                    <a:pt x="1205812" y="187294"/>
                  </a:lnTo>
                  <a:lnTo>
                    <a:pt x="1182714" y="245747"/>
                  </a:lnTo>
                  <a:lnTo>
                    <a:pt x="1156159" y="311167"/>
                  </a:lnTo>
                  <a:lnTo>
                    <a:pt x="1141572" y="346387"/>
                  </a:lnTo>
                  <a:lnTo>
                    <a:pt x="1126104" y="383225"/>
                  </a:lnTo>
                  <a:lnTo>
                    <a:pt x="1109751" y="421640"/>
                  </a:lnTo>
                  <a:lnTo>
                    <a:pt x="1092506" y="461590"/>
                  </a:lnTo>
                  <a:lnTo>
                    <a:pt x="1074365" y="503035"/>
                  </a:lnTo>
                  <a:lnTo>
                    <a:pt x="1055321" y="545933"/>
                  </a:lnTo>
                  <a:lnTo>
                    <a:pt x="1035291" y="590417"/>
                  </a:lnTo>
                  <a:lnTo>
                    <a:pt x="1014506" y="635923"/>
                  </a:lnTo>
                  <a:lnTo>
                    <a:pt x="992724" y="682932"/>
                  </a:lnTo>
                  <a:lnTo>
                    <a:pt x="970018" y="731229"/>
                  </a:lnTo>
                  <a:lnTo>
                    <a:pt x="946383" y="780773"/>
                  </a:lnTo>
                  <a:lnTo>
                    <a:pt x="921814" y="831522"/>
                  </a:lnTo>
                  <a:lnTo>
                    <a:pt x="896304" y="883436"/>
                  </a:lnTo>
                  <a:lnTo>
                    <a:pt x="869849" y="936472"/>
                  </a:lnTo>
                  <a:lnTo>
                    <a:pt x="842444" y="990590"/>
                  </a:lnTo>
                  <a:lnTo>
                    <a:pt x="814082" y="1045748"/>
                  </a:lnTo>
                  <a:lnTo>
                    <a:pt x="784758" y="1101905"/>
                  </a:lnTo>
                  <a:lnTo>
                    <a:pt x="754467" y="1159020"/>
                  </a:lnTo>
                  <a:lnTo>
                    <a:pt x="723204" y="1217051"/>
                  </a:lnTo>
                  <a:lnTo>
                    <a:pt x="690963" y="1275957"/>
                  </a:lnTo>
                  <a:lnTo>
                    <a:pt x="657739" y="1335697"/>
                  </a:lnTo>
                  <a:lnTo>
                    <a:pt x="623526" y="1396230"/>
                  </a:lnTo>
                  <a:lnTo>
                    <a:pt x="588319" y="1457514"/>
                  </a:lnTo>
                  <a:lnTo>
                    <a:pt x="552113" y="1519509"/>
                  </a:lnTo>
                  <a:lnTo>
                    <a:pt x="514901" y="1582172"/>
                  </a:lnTo>
                  <a:lnTo>
                    <a:pt x="476679" y="1645462"/>
                  </a:lnTo>
                  <a:lnTo>
                    <a:pt x="437442" y="1709339"/>
                  </a:lnTo>
                  <a:lnTo>
                    <a:pt x="397183" y="1773761"/>
                  </a:lnTo>
                  <a:lnTo>
                    <a:pt x="355898" y="1838686"/>
                  </a:lnTo>
                  <a:lnTo>
                    <a:pt x="313580" y="1904074"/>
                  </a:lnTo>
                  <a:lnTo>
                    <a:pt x="270226" y="1969883"/>
                  </a:lnTo>
                  <a:lnTo>
                    <a:pt x="225828" y="2036072"/>
                  </a:lnTo>
                  <a:lnTo>
                    <a:pt x="180382" y="2102600"/>
                  </a:lnTo>
                  <a:lnTo>
                    <a:pt x="133883" y="2169424"/>
                  </a:lnTo>
                  <a:lnTo>
                    <a:pt x="86325" y="2236505"/>
                  </a:lnTo>
                  <a:lnTo>
                    <a:pt x="37702" y="2303801"/>
                  </a:lnTo>
                  <a:lnTo>
                    <a:pt x="0" y="2354990"/>
                  </a:lnTo>
                  <a:lnTo>
                    <a:pt x="33712" y="2354990"/>
                  </a:lnTo>
                  <a:lnTo>
                    <a:pt x="64739" y="2312666"/>
                  </a:lnTo>
                  <a:lnTo>
                    <a:pt x="100274" y="2263501"/>
                  </a:lnTo>
                  <a:lnTo>
                    <a:pt x="135223" y="2214468"/>
                  </a:lnTo>
                  <a:lnTo>
                    <a:pt x="169585" y="2165588"/>
                  </a:lnTo>
                  <a:lnTo>
                    <a:pt x="203362" y="2116880"/>
                  </a:lnTo>
                  <a:lnTo>
                    <a:pt x="236554" y="2068365"/>
                  </a:lnTo>
                  <a:lnTo>
                    <a:pt x="269163" y="2020064"/>
                  </a:lnTo>
                  <a:lnTo>
                    <a:pt x="301189" y="1971998"/>
                  </a:lnTo>
                  <a:lnTo>
                    <a:pt x="332634" y="1924186"/>
                  </a:lnTo>
                  <a:lnTo>
                    <a:pt x="363498" y="1876650"/>
                  </a:lnTo>
                  <a:lnTo>
                    <a:pt x="393782" y="1829409"/>
                  </a:lnTo>
                  <a:lnTo>
                    <a:pt x="423486" y="1782486"/>
                  </a:lnTo>
                  <a:lnTo>
                    <a:pt x="452613" y="1735899"/>
                  </a:lnTo>
                  <a:lnTo>
                    <a:pt x="481163" y="1689669"/>
                  </a:lnTo>
                  <a:lnTo>
                    <a:pt x="509136" y="1643818"/>
                  </a:lnTo>
                  <a:lnTo>
                    <a:pt x="536533" y="1598365"/>
                  </a:lnTo>
                  <a:lnTo>
                    <a:pt x="563356" y="1553332"/>
                  </a:lnTo>
                  <a:lnTo>
                    <a:pt x="589606" y="1508738"/>
                  </a:lnTo>
                  <a:lnTo>
                    <a:pt x="615282" y="1464605"/>
                  </a:lnTo>
                  <a:lnTo>
                    <a:pt x="640387" y="1420952"/>
                  </a:lnTo>
                  <a:lnTo>
                    <a:pt x="664921" y="1377801"/>
                  </a:lnTo>
                  <a:lnTo>
                    <a:pt x="688885" y="1335171"/>
                  </a:lnTo>
                  <a:lnTo>
                    <a:pt x="712279" y="1293084"/>
                  </a:lnTo>
                  <a:lnTo>
                    <a:pt x="735105" y="1251560"/>
                  </a:lnTo>
                  <a:lnTo>
                    <a:pt x="757364" y="1210619"/>
                  </a:lnTo>
                  <a:lnTo>
                    <a:pt x="779056" y="1170282"/>
                  </a:lnTo>
                  <a:lnTo>
                    <a:pt x="800183" y="1130570"/>
                  </a:lnTo>
                  <a:lnTo>
                    <a:pt x="820744" y="1091503"/>
                  </a:lnTo>
                  <a:lnTo>
                    <a:pt x="840742" y="1053102"/>
                  </a:lnTo>
                  <a:lnTo>
                    <a:pt x="860177" y="1015386"/>
                  </a:lnTo>
                  <a:lnTo>
                    <a:pt x="879050" y="978378"/>
                  </a:lnTo>
                  <a:lnTo>
                    <a:pt x="897362" y="942097"/>
                  </a:lnTo>
                  <a:lnTo>
                    <a:pt x="915114" y="906563"/>
                  </a:lnTo>
                  <a:lnTo>
                    <a:pt x="932306" y="871798"/>
                  </a:lnTo>
                  <a:lnTo>
                    <a:pt x="965016" y="804655"/>
                  </a:lnTo>
                  <a:lnTo>
                    <a:pt x="1010294" y="709568"/>
                  </a:lnTo>
                  <a:lnTo>
                    <a:pt x="1038518" y="648906"/>
                  </a:lnTo>
                  <a:lnTo>
                    <a:pt x="1065299" y="590243"/>
                  </a:lnTo>
                  <a:lnTo>
                    <a:pt x="1090417" y="534189"/>
                  </a:lnTo>
                  <a:lnTo>
                    <a:pt x="1114118" y="480309"/>
                  </a:lnTo>
                  <a:lnTo>
                    <a:pt x="1136338" y="428864"/>
                  </a:lnTo>
                  <a:lnTo>
                    <a:pt x="1157092" y="379941"/>
                  </a:lnTo>
                  <a:lnTo>
                    <a:pt x="1176392" y="333627"/>
                  </a:lnTo>
                  <a:lnTo>
                    <a:pt x="1194252" y="290009"/>
                  </a:lnTo>
                  <a:lnTo>
                    <a:pt x="1210686" y="249174"/>
                  </a:lnTo>
                  <a:lnTo>
                    <a:pt x="1225707" y="211209"/>
                  </a:lnTo>
                  <a:lnTo>
                    <a:pt x="1251564" y="144237"/>
                  </a:lnTo>
                  <a:lnTo>
                    <a:pt x="1262427" y="115405"/>
                  </a:lnTo>
                  <a:lnTo>
                    <a:pt x="1284835" y="115405"/>
                  </a:lnTo>
                  <a:lnTo>
                    <a:pt x="1274680" y="0"/>
                  </a:lnTo>
                  <a:close/>
                </a:path>
                <a:path w="1361440" h="2355215">
                  <a:moveTo>
                    <a:pt x="1284835" y="115405"/>
                  </a:moveTo>
                  <a:lnTo>
                    <a:pt x="1262427" y="115405"/>
                  </a:lnTo>
                  <a:lnTo>
                    <a:pt x="1270040" y="177963"/>
                  </a:lnTo>
                  <a:lnTo>
                    <a:pt x="1277185" y="239966"/>
                  </a:lnTo>
                  <a:lnTo>
                    <a:pt x="1283877" y="301391"/>
                  </a:lnTo>
                  <a:lnTo>
                    <a:pt x="1290126" y="362220"/>
                  </a:lnTo>
                  <a:lnTo>
                    <a:pt x="1295944" y="422431"/>
                  </a:lnTo>
                  <a:lnTo>
                    <a:pt x="1301344" y="482004"/>
                  </a:lnTo>
                  <a:lnTo>
                    <a:pt x="1306338" y="540918"/>
                  </a:lnTo>
                  <a:lnTo>
                    <a:pt x="1310937" y="599153"/>
                  </a:lnTo>
                  <a:lnTo>
                    <a:pt x="1315154" y="656688"/>
                  </a:lnTo>
                  <a:lnTo>
                    <a:pt x="1319001" y="713503"/>
                  </a:lnTo>
                  <a:lnTo>
                    <a:pt x="1322490" y="769576"/>
                  </a:lnTo>
                  <a:lnTo>
                    <a:pt x="1325633" y="824888"/>
                  </a:lnTo>
                  <a:lnTo>
                    <a:pt x="1328442" y="879419"/>
                  </a:lnTo>
                  <a:lnTo>
                    <a:pt x="1330929" y="933146"/>
                  </a:lnTo>
                  <a:lnTo>
                    <a:pt x="1333106" y="986051"/>
                  </a:lnTo>
                  <a:lnTo>
                    <a:pt x="1334985" y="1038111"/>
                  </a:lnTo>
                  <a:lnTo>
                    <a:pt x="1336636" y="1091503"/>
                  </a:lnTo>
                  <a:lnTo>
                    <a:pt x="1337898" y="1139620"/>
                  </a:lnTo>
                  <a:lnTo>
                    <a:pt x="1338956" y="1189026"/>
                  </a:lnTo>
                  <a:lnTo>
                    <a:pt x="1339764" y="1237507"/>
                  </a:lnTo>
                  <a:lnTo>
                    <a:pt x="1340335" y="1285041"/>
                  </a:lnTo>
                  <a:lnTo>
                    <a:pt x="1340680" y="1331609"/>
                  </a:lnTo>
                  <a:lnTo>
                    <a:pt x="1340743" y="1421760"/>
                  </a:lnTo>
                  <a:lnTo>
                    <a:pt x="1340484" y="1465304"/>
                  </a:lnTo>
                  <a:lnTo>
                    <a:pt x="1340034" y="1508738"/>
                  </a:lnTo>
                  <a:lnTo>
                    <a:pt x="1339446" y="1549222"/>
                  </a:lnTo>
                  <a:lnTo>
                    <a:pt x="1338691" y="1589556"/>
                  </a:lnTo>
                  <a:lnTo>
                    <a:pt x="1337795" y="1628780"/>
                  </a:lnTo>
                  <a:lnTo>
                    <a:pt x="1336770" y="1666872"/>
                  </a:lnTo>
                  <a:lnTo>
                    <a:pt x="1334381" y="1739580"/>
                  </a:lnTo>
                  <a:lnTo>
                    <a:pt x="1331036" y="1819853"/>
                  </a:lnTo>
                  <a:lnTo>
                    <a:pt x="1327196" y="1895900"/>
                  </a:lnTo>
                  <a:lnTo>
                    <a:pt x="1322961" y="1967575"/>
                  </a:lnTo>
                  <a:lnTo>
                    <a:pt x="1318333" y="2036072"/>
                  </a:lnTo>
                  <a:lnTo>
                    <a:pt x="1313717" y="2097216"/>
                  </a:lnTo>
                  <a:lnTo>
                    <a:pt x="1308910" y="2154885"/>
                  </a:lnTo>
                  <a:lnTo>
                    <a:pt x="1304115" y="2207591"/>
                  </a:lnTo>
                  <a:lnTo>
                    <a:pt x="1299434" y="2255185"/>
                  </a:lnTo>
                  <a:lnTo>
                    <a:pt x="1294968" y="2297519"/>
                  </a:lnTo>
                  <a:lnTo>
                    <a:pt x="1288374" y="2354990"/>
                  </a:lnTo>
                  <a:lnTo>
                    <a:pt x="1314806" y="2354990"/>
                  </a:lnTo>
                  <a:lnTo>
                    <a:pt x="1326919" y="2253759"/>
                  </a:lnTo>
                  <a:lnTo>
                    <a:pt x="1361330" y="1742000"/>
                  </a:lnTo>
                  <a:lnTo>
                    <a:pt x="1359937" y="968959"/>
                  </a:lnTo>
                  <a:lnTo>
                    <a:pt x="1284835" y="115405"/>
                  </a:lnTo>
                  <a:close/>
                </a:path>
              </a:pathLst>
            </a:custGeom>
            <a:solidFill>
              <a:srgbClr val="AF111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9" name="object 9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6815542" y="1298447"/>
              <a:ext cx="2052613" cy="4573516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278623" y="3334511"/>
              <a:ext cx="123444" cy="140208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402068" y="3662171"/>
              <a:ext cx="147827" cy="169163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048500" y="3197351"/>
              <a:ext cx="137159" cy="155448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048500" y="2132076"/>
              <a:ext cx="210311" cy="237744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021068" y="4087367"/>
              <a:ext cx="163068" cy="185928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531607" y="4357115"/>
              <a:ext cx="146303" cy="166116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76259" y="4238244"/>
              <a:ext cx="208788" cy="239268"/>
            </a:xfrm>
            <a:prstGeom prst="rect">
              <a:avLst/>
            </a:prstGeom>
          </p:spPr>
        </p:pic>
        <p:pic>
          <p:nvPicPr>
            <p:cNvPr id="17" name="object 17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29016" y="3864864"/>
              <a:ext cx="92962" cy="106680"/>
            </a:xfrm>
            <a:prstGeom prst="rect">
              <a:avLst/>
            </a:prstGeom>
          </p:spPr>
        </p:pic>
        <p:pic>
          <p:nvPicPr>
            <p:cNvPr id="18" name="object 1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828788" y="5173979"/>
              <a:ext cx="156972" cy="178307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130795" y="4562855"/>
              <a:ext cx="210311" cy="239268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738871" y="5570220"/>
              <a:ext cx="179831" cy="205740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029956" y="2257044"/>
              <a:ext cx="210311" cy="237743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909559" y="2595372"/>
              <a:ext cx="210311" cy="237743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220711" y="3971544"/>
              <a:ext cx="115824" cy="132587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225283" y="2642616"/>
              <a:ext cx="76198" cy="86867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8171688" y="2892551"/>
              <a:ext cx="59435" cy="67055"/>
            </a:xfrm>
            <a:prstGeom prst="rect">
              <a:avLst/>
            </a:prstGeom>
          </p:spPr>
        </p:pic>
      </p:grpSp>
      <p:sp>
        <p:nvSpPr>
          <p:cNvPr id="26" name="object 26"/>
          <p:cNvSpPr txBox="1">
            <a:spLocks noGrp="1"/>
          </p:cNvSpPr>
          <p:nvPr>
            <p:ph type="title"/>
          </p:nvPr>
        </p:nvSpPr>
        <p:spPr>
          <a:xfrm>
            <a:off x="442976" y="395986"/>
            <a:ext cx="3723640" cy="4521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10" dirty="0"/>
              <a:t>Intersig VIG</a:t>
            </a:r>
            <a:r>
              <a:rPr spc="-5" dirty="0"/>
              <a:t> në</a:t>
            </a:r>
            <a:r>
              <a:rPr spc="-20" dirty="0"/>
              <a:t> </a:t>
            </a:r>
            <a:r>
              <a:rPr spc="-5" dirty="0"/>
              <a:t>Shqipëri</a:t>
            </a:r>
          </a:p>
        </p:txBody>
      </p:sp>
      <p:grpSp>
        <p:nvGrpSpPr>
          <p:cNvPr id="27" name="object 27"/>
          <p:cNvGrpSpPr/>
          <p:nvPr/>
        </p:nvGrpSpPr>
        <p:grpSpPr>
          <a:xfrm>
            <a:off x="449579" y="6234688"/>
            <a:ext cx="1301750" cy="359410"/>
            <a:chOff x="449579" y="6234688"/>
            <a:chExt cx="1301750" cy="359410"/>
          </a:xfrm>
        </p:grpSpPr>
        <p:sp>
          <p:nvSpPr>
            <p:cNvPr id="28" name="object 28"/>
            <p:cNvSpPr/>
            <p:nvPr/>
          </p:nvSpPr>
          <p:spPr>
            <a:xfrm>
              <a:off x="449579" y="6234688"/>
              <a:ext cx="1300480" cy="255904"/>
            </a:xfrm>
            <a:custGeom>
              <a:avLst/>
              <a:gdLst/>
              <a:ahLst/>
              <a:cxnLst/>
              <a:rect l="l" t="t" r="r" b="b"/>
              <a:pathLst>
                <a:path w="1300480" h="255904">
                  <a:moveTo>
                    <a:pt x="1259634" y="0"/>
                  </a:moveTo>
                  <a:lnTo>
                    <a:pt x="1199288" y="0"/>
                  </a:lnTo>
                  <a:lnTo>
                    <a:pt x="1149143" y="27526"/>
                  </a:lnTo>
                  <a:lnTo>
                    <a:pt x="1125342" y="63242"/>
                  </a:lnTo>
                  <a:lnTo>
                    <a:pt x="1117493" y="106791"/>
                  </a:lnTo>
                  <a:lnTo>
                    <a:pt x="1119271" y="129564"/>
                  </a:lnTo>
                  <a:lnTo>
                    <a:pt x="1133632" y="168528"/>
                  </a:lnTo>
                  <a:lnTo>
                    <a:pt x="1162259" y="197436"/>
                  </a:lnTo>
                  <a:lnTo>
                    <a:pt x="1202791" y="212195"/>
                  </a:lnTo>
                  <a:lnTo>
                    <a:pt x="1227481" y="214057"/>
                  </a:lnTo>
                  <a:lnTo>
                    <a:pt x="1249115" y="213270"/>
                  </a:lnTo>
                  <a:lnTo>
                    <a:pt x="1268655" y="210970"/>
                  </a:lnTo>
                  <a:lnTo>
                    <a:pt x="1286154" y="207247"/>
                  </a:lnTo>
                  <a:lnTo>
                    <a:pt x="1300030" y="202724"/>
                  </a:lnTo>
                  <a:lnTo>
                    <a:pt x="1300030" y="176562"/>
                  </a:lnTo>
                  <a:lnTo>
                    <a:pt x="1231319" y="176562"/>
                  </a:lnTo>
                  <a:lnTo>
                    <a:pt x="1216261" y="175323"/>
                  </a:lnTo>
                  <a:lnTo>
                    <a:pt x="1182177" y="157100"/>
                  </a:lnTo>
                  <a:lnTo>
                    <a:pt x="1166745" y="121858"/>
                  </a:lnTo>
                  <a:lnTo>
                    <a:pt x="1165691" y="107265"/>
                  </a:lnTo>
                  <a:lnTo>
                    <a:pt x="1166930" y="91424"/>
                  </a:lnTo>
                  <a:lnTo>
                    <a:pt x="1185512" y="54578"/>
                  </a:lnTo>
                  <a:lnTo>
                    <a:pt x="1221613" y="35893"/>
                  </a:lnTo>
                  <a:lnTo>
                    <a:pt x="1236478" y="34648"/>
                  </a:lnTo>
                  <a:lnTo>
                    <a:pt x="1259634" y="34648"/>
                  </a:lnTo>
                  <a:lnTo>
                    <a:pt x="1259634" y="0"/>
                  </a:lnTo>
                  <a:close/>
                </a:path>
                <a:path w="1300480" h="255904">
                  <a:moveTo>
                    <a:pt x="1300030" y="118657"/>
                  </a:moveTo>
                  <a:lnTo>
                    <a:pt x="1259634" y="118657"/>
                  </a:lnTo>
                  <a:lnTo>
                    <a:pt x="1259634" y="171812"/>
                  </a:lnTo>
                  <a:lnTo>
                    <a:pt x="1253086" y="173755"/>
                  </a:lnTo>
                  <a:lnTo>
                    <a:pt x="1246184" y="175254"/>
                  </a:lnTo>
                  <a:lnTo>
                    <a:pt x="1238928" y="176220"/>
                  </a:lnTo>
                  <a:lnTo>
                    <a:pt x="1231319" y="176562"/>
                  </a:lnTo>
                  <a:lnTo>
                    <a:pt x="1300030" y="176562"/>
                  </a:lnTo>
                  <a:lnTo>
                    <a:pt x="1300030" y="118657"/>
                  </a:lnTo>
                  <a:close/>
                </a:path>
                <a:path w="1300480" h="255904">
                  <a:moveTo>
                    <a:pt x="1259634" y="34648"/>
                  </a:moveTo>
                  <a:lnTo>
                    <a:pt x="1244532" y="34648"/>
                  </a:lnTo>
                  <a:lnTo>
                    <a:pt x="1252083" y="35122"/>
                  </a:lnTo>
                  <a:lnTo>
                    <a:pt x="1259634" y="36545"/>
                  </a:lnTo>
                  <a:lnTo>
                    <a:pt x="1259634" y="34648"/>
                  </a:lnTo>
                  <a:close/>
                </a:path>
                <a:path w="1300480" h="255904">
                  <a:moveTo>
                    <a:pt x="1291220" y="0"/>
                  </a:moveTo>
                  <a:lnTo>
                    <a:pt x="1283670" y="0"/>
                  </a:lnTo>
                  <a:lnTo>
                    <a:pt x="1280398" y="948"/>
                  </a:lnTo>
                  <a:lnTo>
                    <a:pt x="1278007" y="3795"/>
                  </a:lnTo>
                  <a:lnTo>
                    <a:pt x="1275175" y="6641"/>
                  </a:lnTo>
                  <a:lnTo>
                    <a:pt x="1273791" y="9493"/>
                  </a:lnTo>
                  <a:lnTo>
                    <a:pt x="1273791" y="17558"/>
                  </a:lnTo>
                  <a:lnTo>
                    <a:pt x="1275175" y="20885"/>
                  </a:lnTo>
                  <a:lnTo>
                    <a:pt x="1277566" y="23257"/>
                  </a:lnTo>
                  <a:lnTo>
                    <a:pt x="1279894" y="26103"/>
                  </a:lnTo>
                  <a:lnTo>
                    <a:pt x="1283229" y="27526"/>
                  </a:lnTo>
                  <a:lnTo>
                    <a:pt x="1291220" y="27526"/>
                  </a:lnTo>
                  <a:lnTo>
                    <a:pt x="1294555" y="26103"/>
                  </a:lnTo>
                  <a:lnTo>
                    <a:pt x="1295719" y="24680"/>
                  </a:lnTo>
                  <a:lnTo>
                    <a:pt x="1284173" y="24680"/>
                  </a:lnTo>
                  <a:lnTo>
                    <a:pt x="1281782" y="23731"/>
                  </a:lnTo>
                  <a:lnTo>
                    <a:pt x="1279894" y="21359"/>
                  </a:lnTo>
                  <a:lnTo>
                    <a:pt x="1277566" y="19455"/>
                  </a:lnTo>
                  <a:lnTo>
                    <a:pt x="1276623" y="16609"/>
                  </a:lnTo>
                  <a:lnTo>
                    <a:pt x="1276623" y="10442"/>
                  </a:lnTo>
                  <a:lnTo>
                    <a:pt x="1277566" y="8064"/>
                  </a:lnTo>
                  <a:lnTo>
                    <a:pt x="1279894" y="5692"/>
                  </a:lnTo>
                  <a:lnTo>
                    <a:pt x="1281782" y="3320"/>
                  </a:lnTo>
                  <a:lnTo>
                    <a:pt x="1284614" y="2371"/>
                  </a:lnTo>
                  <a:lnTo>
                    <a:pt x="1295719" y="2371"/>
                  </a:lnTo>
                  <a:lnTo>
                    <a:pt x="1294555" y="948"/>
                  </a:lnTo>
                  <a:lnTo>
                    <a:pt x="1291220" y="0"/>
                  </a:lnTo>
                  <a:close/>
                </a:path>
                <a:path w="1300480" h="255904">
                  <a:moveTo>
                    <a:pt x="1295719" y="2371"/>
                  </a:moveTo>
                  <a:lnTo>
                    <a:pt x="1290277" y="2371"/>
                  </a:lnTo>
                  <a:lnTo>
                    <a:pt x="1293108" y="3320"/>
                  </a:lnTo>
                  <a:lnTo>
                    <a:pt x="1294996" y="5692"/>
                  </a:lnTo>
                  <a:lnTo>
                    <a:pt x="1297387" y="8064"/>
                  </a:lnTo>
                  <a:lnTo>
                    <a:pt x="1298331" y="10442"/>
                  </a:lnTo>
                  <a:lnTo>
                    <a:pt x="1298331" y="16609"/>
                  </a:lnTo>
                  <a:lnTo>
                    <a:pt x="1297387" y="19455"/>
                  </a:lnTo>
                  <a:lnTo>
                    <a:pt x="1294996" y="21359"/>
                  </a:lnTo>
                  <a:lnTo>
                    <a:pt x="1293108" y="23731"/>
                  </a:lnTo>
                  <a:lnTo>
                    <a:pt x="1290277" y="24680"/>
                  </a:lnTo>
                  <a:lnTo>
                    <a:pt x="1295719" y="24680"/>
                  </a:lnTo>
                  <a:lnTo>
                    <a:pt x="1296883" y="23257"/>
                  </a:lnTo>
                  <a:lnTo>
                    <a:pt x="1299715" y="20885"/>
                  </a:lnTo>
                  <a:lnTo>
                    <a:pt x="1300030" y="20161"/>
                  </a:lnTo>
                  <a:lnTo>
                    <a:pt x="1299921" y="6641"/>
                  </a:lnTo>
                  <a:lnTo>
                    <a:pt x="1299715" y="6166"/>
                  </a:lnTo>
                  <a:lnTo>
                    <a:pt x="1296883" y="3795"/>
                  </a:lnTo>
                  <a:lnTo>
                    <a:pt x="1295719" y="2371"/>
                  </a:lnTo>
                  <a:close/>
                </a:path>
                <a:path w="1300480" h="255904">
                  <a:moveTo>
                    <a:pt x="1291220" y="5692"/>
                  </a:moveTo>
                  <a:lnTo>
                    <a:pt x="1281782" y="5692"/>
                  </a:lnTo>
                  <a:lnTo>
                    <a:pt x="1281782" y="20885"/>
                  </a:lnTo>
                  <a:lnTo>
                    <a:pt x="1285557" y="20885"/>
                  </a:lnTo>
                  <a:lnTo>
                    <a:pt x="1285557" y="8538"/>
                  </a:lnTo>
                  <a:lnTo>
                    <a:pt x="1294052" y="8538"/>
                  </a:lnTo>
                  <a:lnTo>
                    <a:pt x="1294052" y="7590"/>
                  </a:lnTo>
                  <a:lnTo>
                    <a:pt x="1291220" y="5692"/>
                  </a:lnTo>
                  <a:close/>
                </a:path>
                <a:path w="1300480" h="255904">
                  <a:moveTo>
                    <a:pt x="1294052" y="8538"/>
                  </a:moveTo>
                  <a:lnTo>
                    <a:pt x="1288892" y="8538"/>
                  </a:lnTo>
                  <a:lnTo>
                    <a:pt x="1290277" y="9493"/>
                  </a:lnTo>
                  <a:lnTo>
                    <a:pt x="1290277" y="12340"/>
                  </a:lnTo>
                  <a:lnTo>
                    <a:pt x="1288892" y="13288"/>
                  </a:lnTo>
                  <a:lnTo>
                    <a:pt x="1286501" y="13763"/>
                  </a:lnTo>
                  <a:lnTo>
                    <a:pt x="1286501" y="14237"/>
                  </a:lnTo>
                  <a:lnTo>
                    <a:pt x="1290277" y="20885"/>
                  </a:lnTo>
                  <a:lnTo>
                    <a:pt x="1294555" y="20885"/>
                  </a:lnTo>
                  <a:lnTo>
                    <a:pt x="1290780" y="15186"/>
                  </a:lnTo>
                  <a:lnTo>
                    <a:pt x="1292668" y="14237"/>
                  </a:lnTo>
                  <a:lnTo>
                    <a:pt x="1294052" y="12814"/>
                  </a:lnTo>
                  <a:lnTo>
                    <a:pt x="1294052" y="8538"/>
                  </a:lnTo>
                  <a:close/>
                </a:path>
                <a:path w="1300480" h="255904">
                  <a:moveTo>
                    <a:pt x="1300030" y="245853"/>
                  </a:moveTo>
                  <a:lnTo>
                    <a:pt x="0" y="245853"/>
                  </a:lnTo>
                  <a:lnTo>
                    <a:pt x="0" y="255346"/>
                  </a:lnTo>
                  <a:lnTo>
                    <a:pt x="1300030" y="255346"/>
                  </a:lnTo>
                  <a:lnTo>
                    <a:pt x="1300030" y="245853"/>
                  </a:lnTo>
                  <a:close/>
                </a:path>
                <a:path w="1300480" h="255904">
                  <a:moveTo>
                    <a:pt x="1086850" y="0"/>
                  </a:moveTo>
                  <a:lnTo>
                    <a:pt x="1039596" y="0"/>
                  </a:lnTo>
                  <a:lnTo>
                    <a:pt x="1039596" y="210255"/>
                  </a:lnTo>
                  <a:lnTo>
                    <a:pt x="1086850" y="210255"/>
                  </a:lnTo>
                  <a:lnTo>
                    <a:pt x="1086850" y="0"/>
                  </a:lnTo>
                  <a:close/>
                </a:path>
                <a:path w="1300480" h="255904">
                  <a:moveTo>
                    <a:pt x="858318" y="153779"/>
                  </a:moveTo>
                  <a:lnTo>
                    <a:pt x="858318" y="197441"/>
                  </a:lnTo>
                  <a:lnTo>
                    <a:pt x="910019" y="213396"/>
                  </a:lnTo>
                  <a:lnTo>
                    <a:pt x="930992" y="214531"/>
                  </a:lnTo>
                  <a:lnTo>
                    <a:pt x="948705" y="213389"/>
                  </a:lnTo>
                  <a:lnTo>
                    <a:pt x="988629" y="196967"/>
                  </a:lnTo>
                  <a:lnTo>
                    <a:pt x="1004012" y="176562"/>
                  </a:lnTo>
                  <a:lnTo>
                    <a:pt x="924889" y="176562"/>
                  </a:lnTo>
                  <a:lnTo>
                    <a:pt x="917251" y="176198"/>
                  </a:lnTo>
                  <a:lnTo>
                    <a:pt x="873773" y="163329"/>
                  </a:lnTo>
                  <a:lnTo>
                    <a:pt x="865735" y="158843"/>
                  </a:lnTo>
                  <a:lnTo>
                    <a:pt x="858318" y="153779"/>
                  </a:lnTo>
                  <a:close/>
                </a:path>
                <a:path w="1300480" h="255904">
                  <a:moveTo>
                    <a:pt x="969657" y="0"/>
                  </a:moveTo>
                  <a:lnTo>
                    <a:pt x="902578" y="0"/>
                  </a:lnTo>
                  <a:lnTo>
                    <a:pt x="891885" y="4137"/>
                  </a:lnTo>
                  <a:lnTo>
                    <a:pt x="862830" y="41083"/>
                  </a:lnTo>
                  <a:lnTo>
                    <a:pt x="861589" y="53629"/>
                  </a:lnTo>
                  <a:lnTo>
                    <a:pt x="867387" y="77472"/>
                  </a:lnTo>
                  <a:lnTo>
                    <a:pt x="883148" y="95220"/>
                  </a:lnTo>
                  <a:lnTo>
                    <a:pt x="904301" y="108429"/>
                  </a:lnTo>
                  <a:lnTo>
                    <a:pt x="926273" y="118657"/>
                  </a:lnTo>
                  <a:lnTo>
                    <a:pt x="939984" y="125670"/>
                  </a:lnTo>
                  <a:lnTo>
                    <a:pt x="951253" y="133841"/>
                  </a:lnTo>
                  <a:lnTo>
                    <a:pt x="958888" y="143083"/>
                  </a:lnTo>
                  <a:lnTo>
                    <a:pt x="961698" y="153305"/>
                  </a:lnTo>
                  <a:lnTo>
                    <a:pt x="959000" y="163546"/>
                  </a:lnTo>
                  <a:lnTo>
                    <a:pt x="951434" y="170806"/>
                  </a:lnTo>
                  <a:lnTo>
                    <a:pt x="939798" y="175130"/>
                  </a:lnTo>
                  <a:lnTo>
                    <a:pt x="924889" y="176562"/>
                  </a:lnTo>
                  <a:lnTo>
                    <a:pt x="1004012" y="176562"/>
                  </a:lnTo>
                  <a:lnTo>
                    <a:pt x="1007644" y="165263"/>
                  </a:lnTo>
                  <a:lnTo>
                    <a:pt x="1008890" y="152350"/>
                  </a:lnTo>
                  <a:lnTo>
                    <a:pt x="1006892" y="136616"/>
                  </a:lnTo>
                  <a:lnTo>
                    <a:pt x="982966" y="102041"/>
                  </a:lnTo>
                  <a:lnTo>
                    <a:pt x="924653" y="71312"/>
                  </a:lnTo>
                  <a:lnTo>
                    <a:pt x="913209" y="63302"/>
                  </a:lnTo>
                  <a:lnTo>
                    <a:pt x="908844" y="53155"/>
                  </a:lnTo>
                  <a:lnTo>
                    <a:pt x="911126" y="44160"/>
                  </a:lnTo>
                  <a:lnTo>
                    <a:pt x="917566" y="37791"/>
                  </a:lnTo>
                  <a:lnTo>
                    <a:pt x="927558" y="34003"/>
                  </a:lnTo>
                  <a:lnTo>
                    <a:pt x="940494" y="32750"/>
                  </a:lnTo>
                  <a:lnTo>
                    <a:pt x="995676" y="32750"/>
                  </a:lnTo>
                  <a:lnTo>
                    <a:pt x="995676" y="8538"/>
                  </a:lnTo>
                  <a:lnTo>
                    <a:pt x="980909" y="2934"/>
                  </a:lnTo>
                  <a:lnTo>
                    <a:pt x="969657" y="0"/>
                  </a:lnTo>
                  <a:close/>
                </a:path>
                <a:path w="1300480" h="255904">
                  <a:moveTo>
                    <a:pt x="995676" y="32750"/>
                  </a:moveTo>
                  <a:lnTo>
                    <a:pt x="940494" y="32750"/>
                  </a:lnTo>
                  <a:lnTo>
                    <a:pt x="946963" y="33025"/>
                  </a:lnTo>
                  <a:lnTo>
                    <a:pt x="953691" y="33877"/>
                  </a:lnTo>
                  <a:lnTo>
                    <a:pt x="995676" y="49360"/>
                  </a:lnTo>
                  <a:lnTo>
                    <a:pt x="995676" y="32750"/>
                  </a:lnTo>
                  <a:close/>
                </a:path>
                <a:path w="1300480" h="255904">
                  <a:moveTo>
                    <a:pt x="752546" y="0"/>
                  </a:moveTo>
                  <a:lnTo>
                    <a:pt x="668042" y="0"/>
                  </a:lnTo>
                  <a:lnTo>
                    <a:pt x="668042" y="210255"/>
                  </a:lnTo>
                  <a:lnTo>
                    <a:pt x="715233" y="210255"/>
                  </a:lnTo>
                  <a:lnTo>
                    <a:pt x="715233" y="36071"/>
                  </a:lnTo>
                  <a:lnTo>
                    <a:pt x="822347" y="36071"/>
                  </a:lnTo>
                  <a:lnTo>
                    <a:pt x="782646" y="4626"/>
                  </a:lnTo>
                  <a:lnTo>
                    <a:pt x="768212" y="1156"/>
                  </a:lnTo>
                  <a:lnTo>
                    <a:pt x="752546" y="0"/>
                  </a:lnTo>
                  <a:close/>
                </a:path>
                <a:path w="1300480" h="255904">
                  <a:moveTo>
                    <a:pt x="822347" y="36071"/>
                  </a:moveTo>
                  <a:lnTo>
                    <a:pt x="743611" y="36071"/>
                  </a:lnTo>
                  <a:lnTo>
                    <a:pt x="760226" y="38822"/>
                  </a:lnTo>
                  <a:lnTo>
                    <a:pt x="772854" y="46690"/>
                  </a:lnTo>
                  <a:lnTo>
                    <a:pt x="780880" y="59096"/>
                  </a:lnTo>
                  <a:lnTo>
                    <a:pt x="783692" y="75463"/>
                  </a:lnTo>
                  <a:lnTo>
                    <a:pt x="780669" y="90489"/>
                  </a:lnTo>
                  <a:lnTo>
                    <a:pt x="771540" y="103466"/>
                  </a:lnTo>
                  <a:lnTo>
                    <a:pt x="756218" y="113241"/>
                  </a:lnTo>
                  <a:lnTo>
                    <a:pt x="734613" y="118657"/>
                  </a:lnTo>
                  <a:lnTo>
                    <a:pt x="734613" y="122926"/>
                  </a:lnTo>
                  <a:lnTo>
                    <a:pt x="789858" y="210255"/>
                  </a:lnTo>
                  <a:lnTo>
                    <a:pt x="844160" y="210255"/>
                  </a:lnTo>
                  <a:lnTo>
                    <a:pt x="788411" y="132894"/>
                  </a:lnTo>
                  <a:lnTo>
                    <a:pt x="806951" y="120681"/>
                  </a:lnTo>
                  <a:lnTo>
                    <a:pt x="820069" y="104952"/>
                  </a:lnTo>
                  <a:lnTo>
                    <a:pt x="827866" y="87176"/>
                  </a:lnTo>
                  <a:lnTo>
                    <a:pt x="830443" y="68822"/>
                  </a:lnTo>
                  <a:lnTo>
                    <a:pt x="829027" y="53618"/>
                  </a:lnTo>
                  <a:lnTo>
                    <a:pt x="824780" y="40104"/>
                  </a:lnTo>
                  <a:lnTo>
                    <a:pt x="822347" y="36071"/>
                  </a:lnTo>
                  <a:close/>
                </a:path>
                <a:path w="1300480" h="255904">
                  <a:moveTo>
                    <a:pt x="637336" y="0"/>
                  </a:moveTo>
                  <a:lnTo>
                    <a:pt x="495252" y="0"/>
                  </a:lnTo>
                  <a:lnTo>
                    <a:pt x="495252" y="210255"/>
                  </a:lnTo>
                  <a:lnTo>
                    <a:pt x="643502" y="210255"/>
                  </a:lnTo>
                  <a:lnTo>
                    <a:pt x="643502" y="173710"/>
                  </a:lnTo>
                  <a:lnTo>
                    <a:pt x="542468" y="173710"/>
                  </a:lnTo>
                  <a:lnTo>
                    <a:pt x="542468" y="118657"/>
                  </a:lnTo>
                  <a:lnTo>
                    <a:pt x="627444" y="118657"/>
                  </a:lnTo>
                  <a:lnTo>
                    <a:pt x="627444" y="83060"/>
                  </a:lnTo>
                  <a:lnTo>
                    <a:pt x="542468" y="83060"/>
                  </a:lnTo>
                  <a:lnTo>
                    <a:pt x="542468" y="36545"/>
                  </a:lnTo>
                  <a:lnTo>
                    <a:pt x="637336" y="36545"/>
                  </a:lnTo>
                  <a:lnTo>
                    <a:pt x="637336" y="0"/>
                  </a:lnTo>
                  <a:close/>
                </a:path>
                <a:path w="1300480" h="255904">
                  <a:moveTo>
                    <a:pt x="403663" y="36071"/>
                  </a:moveTo>
                  <a:lnTo>
                    <a:pt x="356452" y="36071"/>
                  </a:lnTo>
                  <a:lnTo>
                    <a:pt x="356452" y="210255"/>
                  </a:lnTo>
                  <a:lnTo>
                    <a:pt x="403663" y="210255"/>
                  </a:lnTo>
                  <a:lnTo>
                    <a:pt x="403663" y="36071"/>
                  </a:lnTo>
                  <a:close/>
                </a:path>
                <a:path w="1300480" h="255904">
                  <a:moveTo>
                    <a:pt x="464565" y="0"/>
                  </a:moveTo>
                  <a:lnTo>
                    <a:pt x="295072" y="0"/>
                  </a:lnTo>
                  <a:lnTo>
                    <a:pt x="295072" y="36071"/>
                  </a:lnTo>
                  <a:lnTo>
                    <a:pt x="464565" y="36071"/>
                  </a:lnTo>
                  <a:lnTo>
                    <a:pt x="464565" y="0"/>
                  </a:lnTo>
                  <a:close/>
                </a:path>
                <a:path w="1300480" h="255904">
                  <a:moveTo>
                    <a:pt x="180141" y="83534"/>
                  </a:moveTo>
                  <a:lnTo>
                    <a:pt x="125113" y="83534"/>
                  </a:lnTo>
                  <a:lnTo>
                    <a:pt x="257778" y="214057"/>
                  </a:lnTo>
                  <a:lnTo>
                    <a:pt x="264385" y="210255"/>
                  </a:lnTo>
                  <a:lnTo>
                    <a:pt x="264385" y="117708"/>
                  </a:lnTo>
                  <a:lnTo>
                    <a:pt x="217175" y="117708"/>
                  </a:lnTo>
                  <a:lnTo>
                    <a:pt x="180141" y="83534"/>
                  </a:lnTo>
                  <a:close/>
                </a:path>
                <a:path w="1300480" h="255904">
                  <a:moveTo>
                    <a:pt x="89615" y="0"/>
                  </a:moveTo>
                  <a:lnTo>
                    <a:pt x="77897" y="0"/>
                  </a:lnTo>
                  <a:lnTo>
                    <a:pt x="77897" y="210255"/>
                  </a:lnTo>
                  <a:lnTo>
                    <a:pt x="125113" y="210255"/>
                  </a:lnTo>
                  <a:lnTo>
                    <a:pt x="125113" y="83534"/>
                  </a:lnTo>
                  <a:lnTo>
                    <a:pt x="180141" y="83534"/>
                  </a:lnTo>
                  <a:lnTo>
                    <a:pt x="89615" y="0"/>
                  </a:lnTo>
                  <a:close/>
                </a:path>
                <a:path w="1300480" h="255904">
                  <a:moveTo>
                    <a:pt x="264385" y="0"/>
                  </a:moveTo>
                  <a:lnTo>
                    <a:pt x="217175" y="0"/>
                  </a:lnTo>
                  <a:lnTo>
                    <a:pt x="217175" y="117708"/>
                  </a:lnTo>
                  <a:lnTo>
                    <a:pt x="264385" y="117708"/>
                  </a:lnTo>
                  <a:lnTo>
                    <a:pt x="264385" y="0"/>
                  </a:lnTo>
                  <a:close/>
                </a:path>
                <a:path w="1300480" h="255904">
                  <a:moveTo>
                    <a:pt x="47212" y="0"/>
                  </a:moveTo>
                  <a:lnTo>
                    <a:pt x="0" y="0"/>
                  </a:lnTo>
                  <a:lnTo>
                    <a:pt x="0" y="210255"/>
                  </a:lnTo>
                  <a:lnTo>
                    <a:pt x="47212" y="210255"/>
                  </a:lnTo>
                  <a:lnTo>
                    <a:pt x="47212" y="0"/>
                  </a:lnTo>
                  <a:close/>
                </a:path>
              </a:pathLst>
            </a:custGeom>
            <a:solidFill>
              <a:srgbClr val="EB1C23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9"/>
            <p:cNvSpPr/>
            <p:nvPr/>
          </p:nvSpPr>
          <p:spPr>
            <a:xfrm>
              <a:off x="449580" y="6522785"/>
              <a:ext cx="1301750" cy="71755"/>
            </a:xfrm>
            <a:custGeom>
              <a:avLst/>
              <a:gdLst/>
              <a:ahLst/>
              <a:cxnLst/>
              <a:rect l="l" t="t" r="r" b="b"/>
              <a:pathLst>
                <a:path w="1301750" h="71754">
                  <a:moveTo>
                    <a:pt x="1277566" y="948"/>
                  </a:moveTo>
                  <a:lnTo>
                    <a:pt x="1250195" y="948"/>
                  </a:lnTo>
                  <a:lnTo>
                    <a:pt x="1250195" y="70717"/>
                  </a:lnTo>
                  <a:lnTo>
                    <a:pt x="1261018" y="70717"/>
                  </a:lnTo>
                  <a:lnTo>
                    <a:pt x="1261018" y="43189"/>
                  </a:lnTo>
                  <a:lnTo>
                    <a:pt x="1277566" y="43189"/>
                  </a:lnTo>
                  <a:lnTo>
                    <a:pt x="1287226" y="41587"/>
                  </a:lnTo>
                  <a:lnTo>
                    <a:pt x="1294673" y="37138"/>
                  </a:lnTo>
                  <a:lnTo>
                    <a:pt x="1297112" y="33697"/>
                  </a:lnTo>
                  <a:lnTo>
                    <a:pt x="1261018" y="33697"/>
                  </a:lnTo>
                  <a:lnTo>
                    <a:pt x="1261018" y="10442"/>
                  </a:lnTo>
                  <a:lnTo>
                    <a:pt x="1297207" y="10442"/>
                  </a:lnTo>
                  <a:lnTo>
                    <a:pt x="1294673" y="6941"/>
                  </a:lnTo>
                  <a:lnTo>
                    <a:pt x="1287226" y="2543"/>
                  </a:lnTo>
                  <a:lnTo>
                    <a:pt x="1277566" y="948"/>
                  </a:lnTo>
                  <a:close/>
                </a:path>
                <a:path w="1301750" h="71754">
                  <a:moveTo>
                    <a:pt x="1297207" y="10442"/>
                  </a:moveTo>
                  <a:lnTo>
                    <a:pt x="1284614" y="10442"/>
                  </a:lnTo>
                  <a:lnTo>
                    <a:pt x="1290277" y="14711"/>
                  </a:lnTo>
                  <a:lnTo>
                    <a:pt x="1290277" y="29425"/>
                  </a:lnTo>
                  <a:lnTo>
                    <a:pt x="1284614" y="33697"/>
                  </a:lnTo>
                  <a:lnTo>
                    <a:pt x="1297112" y="33697"/>
                  </a:lnTo>
                  <a:lnTo>
                    <a:pt x="1299466" y="30374"/>
                  </a:lnTo>
                  <a:lnTo>
                    <a:pt x="1301162" y="21831"/>
                  </a:lnTo>
                  <a:lnTo>
                    <a:pt x="1299466" y="13563"/>
                  </a:lnTo>
                  <a:lnTo>
                    <a:pt x="1297207" y="10442"/>
                  </a:lnTo>
                  <a:close/>
                </a:path>
                <a:path w="1301750" h="71754">
                  <a:moveTo>
                    <a:pt x="1190671" y="948"/>
                  </a:moveTo>
                  <a:lnTo>
                    <a:pt x="1179849" y="948"/>
                  </a:lnTo>
                  <a:lnTo>
                    <a:pt x="1179849" y="46986"/>
                  </a:lnTo>
                  <a:lnTo>
                    <a:pt x="1181846" y="56975"/>
                  </a:lnTo>
                  <a:lnTo>
                    <a:pt x="1187336" y="64607"/>
                  </a:lnTo>
                  <a:lnTo>
                    <a:pt x="1195563" y="69479"/>
                  </a:lnTo>
                  <a:lnTo>
                    <a:pt x="1205772" y="71192"/>
                  </a:lnTo>
                  <a:lnTo>
                    <a:pt x="1216097" y="69479"/>
                  </a:lnTo>
                  <a:lnTo>
                    <a:pt x="1224515" y="64607"/>
                  </a:lnTo>
                  <a:lnTo>
                    <a:pt x="1226675" y="61699"/>
                  </a:lnTo>
                  <a:lnTo>
                    <a:pt x="1196838" y="61699"/>
                  </a:lnTo>
                  <a:lnTo>
                    <a:pt x="1190671" y="56004"/>
                  </a:lnTo>
                  <a:lnTo>
                    <a:pt x="1190671" y="948"/>
                  </a:lnTo>
                  <a:close/>
                </a:path>
                <a:path w="1301750" h="71754">
                  <a:moveTo>
                    <a:pt x="1232263" y="948"/>
                  </a:moveTo>
                  <a:lnTo>
                    <a:pt x="1220874" y="948"/>
                  </a:lnTo>
                  <a:lnTo>
                    <a:pt x="1220874" y="56004"/>
                  </a:lnTo>
                  <a:lnTo>
                    <a:pt x="1214770" y="61699"/>
                  </a:lnTo>
                  <a:lnTo>
                    <a:pt x="1226675" y="61699"/>
                  </a:lnTo>
                  <a:lnTo>
                    <a:pt x="1230185" y="56975"/>
                  </a:lnTo>
                  <a:lnTo>
                    <a:pt x="1232263" y="46986"/>
                  </a:lnTo>
                  <a:lnTo>
                    <a:pt x="1232263" y="948"/>
                  </a:lnTo>
                  <a:close/>
                </a:path>
                <a:path w="1301750" h="71754">
                  <a:moveTo>
                    <a:pt x="1145808" y="0"/>
                  </a:moveTo>
                  <a:lnTo>
                    <a:pt x="1130266" y="0"/>
                  </a:lnTo>
                  <a:lnTo>
                    <a:pt x="1123659" y="2846"/>
                  </a:lnTo>
                  <a:lnTo>
                    <a:pt x="1118940" y="7590"/>
                  </a:lnTo>
                  <a:lnTo>
                    <a:pt x="1114830" y="12901"/>
                  </a:lnTo>
                  <a:lnTo>
                    <a:pt x="1112719" y="19102"/>
                  </a:lnTo>
                  <a:lnTo>
                    <a:pt x="1111941" y="26548"/>
                  </a:lnTo>
                  <a:lnTo>
                    <a:pt x="1111941" y="44850"/>
                  </a:lnTo>
                  <a:lnTo>
                    <a:pt x="1130266" y="71192"/>
                  </a:lnTo>
                  <a:lnTo>
                    <a:pt x="1145808" y="71192"/>
                  </a:lnTo>
                  <a:lnTo>
                    <a:pt x="1152415" y="68819"/>
                  </a:lnTo>
                  <a:lnTo>
                    <a:pt x="1157197" y="64072"/>
                  </a:lnTo>
                  <a:lnTo>
                    <a:pt x="1159040" y="61699"/>
                  </a:lnTo>
                  <a:lnTo>
                    <a:pt x="1134041" y="61699"/>
                  </a:lnTo>
                  <a:lnTo>
                    <a:pt x="1129763" y="60276"/>
                  </a:lnTo>
                  <a:lnTo>
                    <a:pt x="1127435" y="57428"/>
                  </a:lnTo>
                  <a:lnTo>
                    <a:pt x="1123659" y="53631"/>
                  </a:lnTo>
                  <a:lnTo>
                    <a:pt x="1123156" y="49834"/>
                  </a:lnTo>
                  <a:lnTo>
                    <a:pt x="1123156" y="21831"/>
                  </a:lnTo>
                  <a:lnTo>
                    <a:pt x="1123659" y="17560"/>
                  </a:lnTo>
                  <a:lnTo>
                    <a:pt x="1127435" y="13762"/>
                  </a:lnTo>
                  <a:lnTo>
                    <a:pt x="1129763" y="11391"/>
                  </a:lnTo>
                  <a:lnTo>
                    <a:pt x="1134041" y="9493"/>
                  </a:lnTo>
                  <a:lnTo>
                    <a:pt x="1158733" y="9493"/>
                  </a:lnTo>
                  <a:lnTo>
                    <a:pt x="1157197" y="7590"/>
                  </a:lnTo>
                  <a:lnTo>
                    <a:pt x="1152415" y="2846"/>
                  </a:lnTo>
                  <a:lnTo>
                    <a:pt x="1145808" y="0"/>
                  </a:lnTo>
                  <a:close/>
                </a:path>
                <a:path w="1301750" h="71754">
                  <a:moveTo>
                    <a:pt x="1158733" y="9493"/>
                  </a:moveTo>
                  <a:lnTo>
                    <a:pt x="1142536" y="9493"/>
                  </a:lnTo>
                  <a:lnTo>
                    <a:pt x="1146311" y="11391"/>
                  </a:lnTo>
                  <a:lnTo>
                    <a:pt x="1149143" y="13762"/>
                  </a:lnTo>
                  <a:lnTo>
                    <a:pt x="1152415" y="18034"/>
                  </a:lnTo>
                  <a:lnTo>
                    <a:pt x="1153358" y="21831"/>
                  </a:lnTo>
                  <a:lnTo>
                    <a:pt x="1153358" y="49834"/>
                  </a:lnTo>
                  <a:lnTo>
                    <a:pt x="1152415" y="53631"/>
                  </a:lnTo>
                  <a:lnTo>
                    <a:pt x="1149143" y="57428"/>
                  </a:lnTo>
                  <a:lnTo>
                    <a:pt x="1146311" y="60276"/>
                  </a:lnTo>
                  <a:lnTo>
                    <a:pt x="1142536" y="61699"/>
                  </a:lnTo>
                  <a:lnTo>
                    <a:pt x="1159040" y="61699"/>
                  </a:lnTo>
                  <a:lnTo>
                    <a:pt x="1161483" y="58555"/>
                  </a:lnTo>
                  <a:lnTo>
                    <a:pt x="1163552" y="52326"/>
                  </a:lnTo>
                  <a:lnTo>
                    <a:pt x="1164205" y="44850"/>
                  </a:lnTo>
                  <a:lnTo>
                    <a:pt x="1164205" y="26548"/>
                  </a:lnTo>
                  <a:lnTo>
                    <a:pt x="1163552" y="19102"/>
                  </a:lnTo>
                  <a:lnTo>
                    <a:pt x="1161483" y="12901"/>
                  </a:lnTo>
                  <a:lnTo>
                    <a:pt x="1158733" y="9493"/>
                  </a:lnTo>
                  <a:close/>
                </a:path>
                <a:path w="1301750" h="71754">
                  <a:moveTo>
                    <a:pt x="1075461" y="948"/>
                  </a:moveTo>
                  <a:lnTo>
                    <a:pt x="1047146" y="948"/>
                  </a:lnTo>
                  <a:lnTo>
                    <a:pt x="1047146" y="70717"/>
                  </a:lnTo>
                  <a:lnTo>
                    <a:pt x="1058472" y="70717"/>
                  </a:lnTo>
                  <a:lnTo>
                    <a:pt x="1058472" y="41290"/>
                  </a:lnTo>
                  <a:lnTo>
                    <a:pt x="1084279" y="41290"/>
                  </a:lnTo>
                  <a:lnTo>
                    <a:pt x="1083515" y="39867"/>
                  </a:lnTo>
                  <a:lnTo>
                    <a:pt x="1091569" y="37494"/>
                  </a:lnTo>
                  <a:lnTo>
                    <a:pt x="1097159" y="32273"/>
                  </a:lnTo>
                  <a:lnTo>
                    <a:pt x="1058472" y="32273"/>
                  </a:lnTo>
                  <a:lnTo>
                    <a:pt x="1058472" y="10442"/>
                  </a:lnTo>
                  <a:lnTo>
                    <a:pt x="1094621" y="10442"/>
                  </a:lnTo>
                  <a:lnTo>
                    <a:pt x="1091962" y="6704"/>
                  </a:lnTo>
                  <a:lnTo>
                    <a:pt x="1084797" y="2469"/>
                  </a:lnTo>
                  <a:lnTo>
                    <a:pt x="1075461" y="948"/>
                  </a:lnTo>
                  <a:close/>
                </a:path>
                <a:path w="1301750" h="71754">
                  <a:moveTo>
                    <a:pt x="1084279" y="41290"/>
                  </a:moveTo>
                  <a:lnTo>
                    <a:pt x="1072189" y="41290"/>
                  </a:lnTo>
                  <a:lnTo>
                    <a:pt x="1087290" y="70717"/>
                  </a:lnTo>
                  <a:lnTo>
                    <a:pt x="1100064" y="70717"/>
                  </a:lnTo>
                  <a:lnTo>
                    <a:pt x="1084279" y="41290"/>
                  </a:lnTo>
                  <a:close/>
                </a:path>
                <a:path w="1301750" h="71754">
                  <a:moveTo>
                    <a:pt x="1094621" y="10442"/>
                  </a:moveTo>
                  <a:lnTo>
                    <a:pt x="1082068" y="10442"/>
                  </a:lnTo>
                  <a:lnTo>
                    <a:pt x="1087290" y="14237"/>
                  </a:lnTo>
                  <a:lnTo>
                    <a:pt x="1087290" y="28001"/>
                  </a:lnTo>
                  <a:lnTo>
                    <a:pt x="1082068" y="32273"/>
                  </a:lnTo>
                  <a:lnTo>
                    <a:pt x="1097159" y="32273"/>
                  </a:lnTo>
                  <a:lnTo>
                    <a:pt x="1098176" y="31323"/>
                  </a:lnTo>
                  <a:lnTo>
                    <a:pt x="1098176" y="21357"/>
                  </a:lnTo>
                  <a:lnTo>
                    <a:pt x="1096556" y="13163"/>
                  </a:lnTo>
                  <a:lnTo>
                    <a:pt x="1094621" y="10442"/>
                  </a:lnTo>
                  <a:close/>
                </a:path>
                <a:path w="1301750" h="71754">
                  <a:moveTo>
                    <a:pt x="1015056" y="0"/>
                  </a:moveTo>
                  <a:lnTo>
                    <a:pt x="997123" y="0"/>
                  </a:lnTo>
                  <a:lnTo>
                    <a:pt x="990957" y="2846"/>
                  </a:lnTo>
                  <a:lnTo>
                    <a:pt x="985797" y="7590"/>
                  </a:lnTo>
                  <a:lnTo>
                    <a:pt x="981687" y="13101"/>
                  </a:lnTo>
                  <a:lnTo>
                    <a:pt x="979576" y="19280"/>
                  </a:lnTo>
                  <a:lnTo>
                    <a:pt x="978798" y="26614"/>
                  </a:lnTo>
                  <a:lnTo>
                    <a:pt x="978798" y="44850"/>
                  </a:lnTo>
                  <a:lnTo>
                    <a:pt x="997564" y="71192"/>
                  </a:lnTo>
                  <a:lnTo>
                    <a:pt x="1013168" y="71192"/>
                  </a:lnTo>
                  <a:lnTo>
                    <a:pt x="1019775" y="68344"/>
                  </a:lnTo>
                  <a:lnTo>
                    <a:pt x="1026414" y="61699"/>
                  </a:lnTo>
                  <a:lnTo>
                    <a:pt x="1000395" y="61699"/>
                  </a:lnTo>
                  <a:lnTo>
                    <a:pt x="996620" y="60276"/>
                  </a:lnTo>
                  <a:lnTo>
                    <a:pt x="990517" y="54106"/>
                  </a:lnTo>
                  <a:lnTo>
                    <a:pt x="989677" y="50309"/>
                  </a:lnTo>
                  <a:lnTo>
                    <a:pt x="989573" y="21831"/>
                  </a:lnTo>
                  <a:lnTo>
                    <a:pt x="990517" y="18034"/>
                  </a:lnTo>
                  <a:lnTo>
                    <a:pt x="993788" y="14237"/>
                  </a:lnTo>
                  <a:lnTo>
                    <a:pt x="996620" y="11391"/>
                  </a:lnTo>
                  <a:lnTo>
                    <a:pt x="1000395" y="9968"/>
                  </a:lnTo>
                  <a:lnTo>
                    <a:pt x="1026382" y="9968"/>
                  </a:lnTo>
                  <a:lnTo>
                    <a:pt x="1026885" y="9493"/>
                  </a:lnTo>
                  <a:lnTo>
                    <a:pt x="1020279" y="2846"/>
                  </a:lnTo>
                  <a:lnTo>
                    <a:pt x="1015056" y="0"/>
                  </a:lnTo>
                  <a:close/>
                </a:path>
                <a:path w="1301750" h="71754">
                  <a:moveTo>
                    <a:pt x="1031605" y="32747"/>
                  </a:moveTo>
                  <a:lnTo>
                    <a:pt x="1005114" y="32747"/>
                  </a:lnTo>
                  <a:lnTo>
                    <a:pt x="1005114" y="41765"/>
                  </a:lnTo>
                  <a:lnTo>
                    <a:pt x="1020279" y="41765"/>
                  </a:lnTo>
                  <a:lnTo>
                    <a:pt x="1020279" y="50309"/>
                  </a:lnTo>
                  <a:lnTo>
                    <a:pt x="1019335" y="54106"/>
                  </a:lnTo>
                  <a:lnTo>
                    <a:pt x="1016503" y="56953"/>
                  </a:lnTo>
                  <a:lnTo>
                    <a:pt x="1013672" y="60276"/>
                  </a:lnTo>
                  <a:lnTo>
                    <a:pt x="1009834" y="61699"/>
                  </a:lnTo>
                  <a:lnTo>
                    <a:pt x="1026414" y="61699"/>
                  </a:lnTo>
                  <a:lnTo>
                    <a:pt x="1029717" y="58377"/>
                  </a:lnTo>
                  <a:lnTo>
                    <a:pt x="1031101" y="52682"/>
                  </a:lnTo>
                  <a:lnTo>
                    <a:pt x="1031538" y="44850"/>
                  </a:lnTo>
                  <a:lnTo>
                    <a:pt x="1031605" y="32747"/>
                  </a:lnTo>
                  <a:close/>
                </a:path>
                <a:path w="1301750" h="71754">
                  <a:moveTo>
                    <a:pt x="1026382" y="9968"/>
                  </a:moveTo>
                  <a:lnTo>
                    <a:pt x="1011281" y="9968"/>
                  </a:lnTo>
                  <a:lnTo>
                    <a:pt x="1014616" y="12340"/>
                  </a:lnTo>
                  <a:lnTo>
                    <a:pt x="1019335" y="16610"/>
                  </a:lnTo>
                  <a:lnTo>
                    <a:pt x="1026382" y="9968"/>
                  </a:lnTo>
                  <a:close/>
                </a:path>
                <a:path w="1301750" h="71754">
                  <a:moveTo>
                    <a:pt x="941437" y="948"/>
                  </a:moveTo>
                  <a:lnTo>
                    <a:pt x="894686" y="948"/>
                  </a:lnTo>
                  <a:lnTo>
                    <a:pt x="894686" y="70717"/>
                  </a:lnTo>
                  <a:lnTo>
                    <a:pt x="941437" y="70717"/>
                  </a:lnTo>
                  <a:lnTo>
                    <a:pt x="941437" y="61225"/>
                  </a:lnTo>
                  <a:lnTo>
                    <a:pt x="906012" y="61225"/>
                  </a:lnTo>
                  <a:lnTo>
                    <a:pt x="906012" y="39867"/>
                  </a:lnTo>
                  <a:lnTo>
                    <a:pt x="936215" y="39867"/>
                  </a:lnTo>
                  <a:lnTo>
                    <a:pt x="936215" y="30849"/>
                  </a:lnTo>
                  <a:lnTo>
                    <a:pt x="906012" y="30849"/>
                  </a:lnTo>
                  <a:lnTo>
                    <a:pt x="906012" y="10442"/>
                  </a:lnTo>
                  <a:lnTo>
                    <a:pt x="941437" y="10442"/>
                  </a:lnTo>
                  <a:lnTo>
                    <a:pt x="941437" y="948"/>
                  </a:lnTo>
                  <a:close/>
                </a:path>
                <a:path w="1301750" h="71754">
                  <a:moveTo>
                    <a:pt x="868700" y="0"/>
                  </a:moveTo>
                  <a:lnTo>
                    <a:pt x="851711" y="0"/>
                  </a:lnTo>
                  <a:lnTo>
                    <a:pt x="845104" y="2846"/>
                  </a:lnTo>
                  <a:lnTo>
                    <a:pt x="840385" y="7590"/>
                  </a:lnTo>
                  <a:lnTo>
                    <a:pt x="836274" y="13101"/>
                  </a:lnTo>
                  <a:lnTo>
                    <a:pt x="834163" y="19280"/>
                  </a:lnTo>
                  <a:lnTo>
                    <a:pt x="833386" y="26614"/>
                  </a:lnTo>
                  <a:lnTo>
                    <a:pt x="833386" y="44850"/>
                  </a:lnTo>
                  <a:lnTo>
                    <a:pt x="851711" y="71192"/>
                  </a:lnTo>
                  <a:lnTo>
                    <a:pt x="868259" y="71192"/>
                  </a:lnTo>
                  <a:lnTo>
                    <a:pt x="874363" y="68344"/>
                  </a:lnTo>
                  <a:lnTo>
                    <a:pt x="879585" y="63124"/>
                  </a:lnTo>
                  <a:lnTo>
                    <a:pt x="878252" y="61699"/>
                  </a:lnTo>
                  <a:lnTo>
                    <a:pt x="854983" y="61699"/>
                  </a:lnTo>
                  <a:lnTo>
                    <a:pt x="851207" y="60276"/>
                  </a:lnTo>
                  <a:lnTo>
                    <a:pt x="848879" y="57428"/>
                  </a:lnTo>
                  <a:lnTo>
                    <a:pt x="845104" y="53631"/>
                  </a:lnTo>
                  <a:lnTo>
                    <a:pt x="844601" y="49834"/>
                  </a:lnTo>
                  <a:lnTo>
                    <a:pt x="844601" y="21831"/>
                  </a:lnTo>
                  <a:lnTo>
                    <a:pt x="845104" y="17560"/>
                  </a:lnTo>
                  <a:lnTo>
                    <a:pt x="848879" y="13762"/>
                  </a:lnTo>
                  <a:lnTo>
                    <a:pt x="851207" y="11391"/>
                  </a:lnTo>
                  <a:lnTo>
                    <a:pt x="854983" y="9493"/>
                  </a:lnTo>
                  <a:lnTo>
                    <a:pt x="878637" y="9493"/>
                  </a:lnTo>
                  <a:lnTo>
                    <a:pt x="879585" y="8545"/>
                  </a:lnTo>
                  <a:lnTo>
                    <a:pt x="874363" y="3320"/>
                  </a:lnTo>
                  <a:lnTo>
                    <a:pt x="868700" y="0"/>
                  </a:lnTo>
                  <a:close/>
                </a:path>
                <a:path w="1301750" h="71754">
                  <a:moveTo>
                    <a:pt x="872475" y="55529"/>
                  </a:moveTo>
                  <a:lnTo>
                    <a:pt x="868700" y="59326"/>
                  </a:lnTo>
                  <a:lnTo>
                    <a:pt x="865365" y="61699"/>
                  </a:lnTo>
                  <a:lnTo>
                    <a:pt x="878252" y="61699"/>
                  </a:lnTo>
                  <a:lnTo>
                    <a:pt x="872475" y="55529"/>
                  </a:lnTo>
                  <a:close/>
                </a:path>
                <a:path w="1301750" h="71754">
                  <a:moveTo>
                    <a:pt x="878637" y="9493"/>
                  </a:moveTo>
                  <a:lnTo>
                    <a:pt x="865365" y="9493"/>
                  </a:lnTo>
                  <a:lnTo>
                    <a:pt x="868700" y="11865"/>
                  </a:lnTo>
                  <a:lnTo>
                    <a:pt x="872475" y="15661"/>
                  </a:lnTo>
                  <a:lnTo>
                    <a:pt x="878637" y="9493"/>
                  </a:lnTo>
                  <a:close/>
                </a:path>
                <a:path w="1301750" h="71754">
                  <a:moveTo>
                    <a:pt x="771926" y="948"/>
                  </a:moveTo>
                  <a:lnTo>
                    <a:pt x="761544" y="948"/>
                  </a:lnTo>
                  <a:lnTo>
                    <a:pt x="761544" y="70717"/>
                  </a:lnTo>
                  <a:lnTo>
                    <a:pt x="772870" y="70717"/>
                  </a:lnTo>
                  <a:lnTo>
                    <a:pt x="772870" y="21357"/>
                  </a:lnTo>
                  <a:lnTo>
                    <a:pt x="785926" y="21357"/>
                  </a:lnTo>
                  <a:lnTo>
                    <a:pt x="771926" y="948"/>
                  </a:lnTo>
                  <a:close/>
                </a:path>
                <a:path w="1301750" h="71754">
                  <a:moveTo>
                    <a:pt x="785926" y="21357"/>
                  </a:moveTo>
                  <a:lnTo>
                    <a:pt x="772870" y="21357"/>
                  </a:lnTo>
                  <a:lnTo>
                    <a:pt x="806407" y="70717"/>
                  </a:lnTo>
                  <a:lnTo>
                    <a:pt x="816789" y="70717"/>
                  </a:lnTo>
                  <a:lnTo>
                    <a:pt x="816789" y="49834"/>
                  </a:lnTo>
                  <a:lnTo>
                    <a:pt x="805463" y="49834"/>
                  </a:lnTo>
                  <a:lnTo>
                    <a:pt x="785926" y="21357"/>
                  </a:lnTo>
                  <a:close/>
                </a:path>
                <a:path w="1301750" h="71754">
                  <a:moveTo>
                    <a:pt x="816789" y="948"/>
                  </a:moveTo>
                  <a:lnTo>
                    <a:pt x="805463" y="948"/>
                  </a:lnTo>
                  <a:lnTo>
                    <a:pt x="805463" y="49834"/>
                  </a:lnTo>
                  <a:lnTo>
                    <a:pt x="816789" y="49834"/>
                  </a:lnTo>
                  <a:lnTo>
                    <a:pt x="816789" y="948"/>
                  </a:lnTo>
                  <a:close/>
                </a:path>
                <a:path w="1301750" h="71754">
                  <a:moveTo>
                    <a:pt x="724734" y="948"/>
                  </a:moveTo>
                  <a:lnTo>
                    <a:pt x="715736" y="948"/>
                  </a:lnTo>
                  <a:lnTo>
                    <a:pt x="688806" y="70717"/>
                  </a:lnTo>
                  <a:lnTo>
                    <a:pt x="700635" y="70717"/>
                  </a:lnTo>
                  <a:lnTo>
                    <a:pt x="705795" y="56953"/>
                  </a:lnTo>
                  <a:lnTo>
                    <a:pt x="745948" y="56953"/>
                  </a:lnTo>
                  <a:lnTo>
                    <a:pt x="742352" y="47461"/>
                  </a:lnTo>
                  <a:lnTo>
                    <a:pt x="709130" y="47461"/>
                  </a:lnTo>
                  <a:lnTo>
                    <a:pt x="720456" y="16610"/>
                  </a:lnTo>
                  <a:lnTo>
                    <a:pt x="730667" y="16610"/>
                  </a:lnTo>
                  <a:lnTo>
                    <a:pt x="724734" y="948"/>
                  </a:lnTo>
                  <a:close/>
                </a:path>
                <a:path w="1301750" h="71754">
                  <a:moveTo>
                    <a:pt x="745948" y="56953"/>
                  </a:moveTo>
                  <a:lnTo>
                    <a:pt x="734613" y="56953"/>
                  </a:lnTo>
                  <a:lnTo>
                    <a:pt x="739332" y="70717"/>
                  </a:lnTo>
                  <a:lnTo>
                    <a:pt x="751161" y="70717"/>
                  </a:lnTo>
                  <a:lnTo>
                    <a:pt x="745948" y="56953"/>
                  </a:lnTo>
                  <a:close/>
                </a:path>
                <a:path w="1301750" h="71754">
                  <a:moveTo>
                    <a:pt x="730667" y="16610"/>
                  </a:moveTo>
                  <a:lnTo>
                    <a:pt x="720456" y="16610"/>
                  </a:lnTo>
                  <a:lnTo>
                    <a:pt x="731341" y="47461"/>
                  </a:lnTo>
                  <a:lnTo>
                    <a:pt x="742352" y="47461"/>
                  </a:lnTo>
                  <a:lnTo>
                    <a:pt x="730667" y="16610"/>
                  </a:lnTo>
                  <a:close/>
                </a:path>
                <a:path w="1301750" h="71754">
                  <a:moveTo>
                    <a:pt x="658603" y="474"/>
                  </a:moveTo>
                  <a:lnTo>
                    <a:pt x="630288" y="474"/>
                  </a:lnTo>
                  <a:lnTo>
                    <a:pt x="630288" y="70717"/>
                  </a:lnTo>
                  <a:lnTo>
                    <a:pt x="641614" y="70717"/>
                  </a:lnTo>
                  <a:lnTo>
                    <a:pt x="641614" y="41290"/>
                  </a:lnTo>
                  <a:lnTo>
                    <a:pt x="667656" y="41290"/>
                  </a:lnTo>
                  <a:lnTo>
                    <a:pt x="666657" y="39392"/>
                  </a:lnTo>
                  <a:lnTo>
                    <a:pt x="674648" y="37494"/>
                  </a:lnTo>
                  <a:lnTo>
                    <a:pt x="680239" y="32273"/>
                  </a:lnTo>
                  <a:lnTo>
                    <a:pt x="641614" y="32273"/>
                  </a:lnTo>
                  <a:lnTo>
                    <a:pt x="641614" y="10442"/>
                  </a:lnTo>
                  <a:lnTo>
                    <a:pt x="678055" y="10442"/>
                  </a:lnTo>
                  <a:lnTo>
                    <a:pt x="675073" y="6229"/>
                  </a:lnTo>
                  <a:lnTo>
                    <a:pt x="667930" y="1994"/>
                  </a:lnTo>
                  <a:lnTo>
                    <a:pt x="658603" y="474"/>
                  </a:lnTo>
                  <a:close/>
                </a:path>
                <a:path w="1301750" h="71754">
                  <a:moveTo>
                    <a:pt x="667656" y="41290"/>
                  </a:moveTo>
                  <a:lnTo>
                    <a:pt x="655331" y="41290"/>
                  </a:lnTo>
                  <a:lnTo>
                    <a:pt x="670873" y="70717"/>
                  </a:lnTo>
                  <a:lnTo>
                    <a:pt x="683143" y="70717"/>
                  </a:lnTo>
                  <a:lnTo>
                    <a:pt x="667656" y="41290"/>
                  </a:lnTo>
                  <a:close/>
                </a:path>
                <a:path w="1301750" h="71754">
                  <a:moveTo>
                    <a:pt x="678055" y="10442"/>
                  </a:moveTo>
                  <a:lnTo>
                    <a:pt x="665210" y="10442"/>
                  </a:lnTo>
                  <a:lnTo>
                    <a:pt x="670433" y="14237"/>
                  </a:lnTo>
                  <a:lnTo>
                    <a:pt x="670433" y="28001"/>
                  </a:lnTo>
                  <a:lnTo>
                    <a:pt x="665210" y="32273"/>
                  </a:lnTo>
                  <a:lnTo>
                    <a:pt x="680239" y="32273"/>
                  </a:lnTo>
                  <a:lnTo>
                    <a:pt x="681255" y="31323"/>
                  </a:lnTo>
                  <a:lnTo>
                    <a:pt x="681255" y="20882"/>
                  </a:lnTo>
                  <a:lnTo>
                    <a:pt x="679645" y="12688"/>
                  </a:lnTo>
                  <a:lnTo>
                    <a:pt x="678055" y="10442"/>
                  </a:lnTo>
                  <a:close/>
                </a:path>
                <a:path w="1301750" h="71754">
                  <a:moveTo>
                    <a:pt x="571268" y="948"/>
                  </a:moveTo>
                  <a:lnTo>
                    <a:pt x="559935" y="948"/>
                  </a:lnTo>
                  <a:lnTo>
                    <a:pt x="559935" y="46986"/>
                  </a:lnTo>
                  <a:lnTo>
                    <a:pt x="561935" y="56975"/>
                  </a:lnTo>
                  <a:lnTo>
                    <a:pt x="567431" y="64607"/>
                  </a:lnTo>
                  <a:lnTo>
                    <a:pt x="575671" y="69479"/>
                  </a:lnTo>
                  <a:lnTo>
                    <a:pt x="585903" y="71192"/>
                  </a:lnTo>
                  <a:lnTo>
                    <a:pt x="596407" y="69479"/>
                  </a:lnTo>
                  <a:lnTo>
                    <a:pt x="604785" y="64607"/>
                  </a:lnTo>
                  <a:lnTo>
                    <a:pt x="606898" y="61699"/>
                  </a:lnTo>
                  <a:lnTo>
                    <a:pt x="576931" y="61699"/>
                  </a:lnTo>
                  <a:lnTo>
                    <a:pt x="571268" y="56004"/>
                  </a:lnTo>
                  <a:lnTo>
                    <a:pt x="571268" y="948"/>
                  </a:lnTo>
                  <a:close/>
                </a:path>
                <a:path w="1301750" h="71754">
                  <a:moveTo>
                    <a:pt x="612337" y="948"/>
                  </a:moveTo>
                  <a:lnTo>
                    <a:pt x="601011" y="948"/>
                  </a:lnTo>
                  <a:lnTo>
                    <a:pt x="601011" y="56004"/>
                  </a:lnTo>
                  <a:lnTo>
                    <a:pt x="595342" y="61699"/>
                  </a:lnTo>
                  <a:lnTo>
                    <a:pt x="606898" y="61699"/>
                  </a:lnTo>
                  <a:lnTo>
                    <a:pt x="610331" y="56975"/>
                  </a:lnTo>
                  <a:lnTo>
                    <a:pt x="612337" y="46986"/>
                  </a:lnTo>
                  <a:lnTo>
                    <a:pt x="612337" y="948"/>
                  </a:lnTo>
                  <a:close/>
                </a:path>
                <a:path w="1301750" h="71754">
                  <a:moveTo>
                    <a:pt x="501393" y="55055"/>
                  </a:moveTo>
                  <a:lnTo>
                    <a:pt x="494308" y="62174"/>
                  </a:lnTo>
                  <a:lnTo>
                    <a:pt x="499554" y="66386"/>
                  </a:lnTo>
                  <a:lnTo>
                    <a:pt x="505463" y="69175"/>
                  </a:lnTo>
                  <a:lnTo>
                    <a:pt x="512168" y="70717"/>
                  </a:lnTo>
                  <a:lnTo>
                    <a:pt x="519804" y="71192"/>
                  </a:lnTo>
                  <a:lnTo>
                    <a:pt x="530508" y="69813"/>
                  </a:lnTo>
                  <a:lnTo>
                    <a:pt x="538866" y="65853"/>
                  </a:lnTo>
                  <a:lnTo>
                    <a:pt x="542465" y="61699"/>
                  </a:lnTo>
                  <a:lnTo>
                    <a:pt x="512719" y="61699"/>
                  </a:lnTo>
                  <a:lnTo>
                    <a:pt x="507056" y="60276"/>
                  </a:lnTo>
                  <a:lnTo>
                    <a:pt x="501393" y="55055"/>
                  </a:lnTo>
                  <a:close/>
                </a:path>
                <a:path w="1301750" h="71754">
                  <a:moveTo>
                    <a:pt x="530664" y="474"/>
                  </a:moveTo>
                  <a:lnTo>
                    <a:pt x="520748" y="474"/>
                  </a:lnTo>
                  <a:lnTo>
                    <a:pt x="510612" y="1928"/>
                  </a:lnTo>
                  <a:lnTo>
                    <a:pt x="503042" y="6051"/>
                  </a:lnTo>
                  <a:lnTo>
                    <a:pt x="498305" y="12488"/>
                  </a:lnTo>
                  <a:lnTo>
                    <a:pt x="496667" y="20882"/>
                  </a:lnTo>
                  <a:lnTo>
                    <a:pt x="496667" y="26577"/>
                  </a:lnTo>
                  <a:lnTo>
                    <a:pt x="524523" y="40816"/>
                  </a:lnTo>
                  <a:lnTo>
                    <a:pt x="528777" y="41765"/>
                  </a:lnTo>
                  <a:lnTo>
                    <a:pt x="530192" y="42240"/>
                  </a:lnTo>
                  <a:lnTo>
                    <a:pt x="532080" y="44139"/>
                  </a:lnTo>
                  <a:lnTo>
                    <a:pt x="534439" y="45562"/>
                  </a:lnTo>
                  <a:lnTo>
                    <a:pt x="535383" y="48410"/>
                  </a:lnTo>
                  <a:lnTo>
                    <a:pt x="535383" y="57902"/>
                  </a:lnTo>
                  <a:lnTo>
                    <a:pt x="529720" y="61699"/>
                  </a:lnTo>
                  <a:lnTo>
                    <a:pt x="542465" y="61699"/>
                  </a:lnTo>
                  <a:lnTo>
                    <a:pt x="544303" y="59579"/>
                  </a:lnTo>
                  <a:lnTo>
                    <a:pt x="546244" y="51258"/>
                  </a:lnTo>
                  <a:lnTo>
                    <a:pt x="546244" y="45088"/>
                  </a:lnTo>
                  <a:lnTo>
                    <a:pt x="518388" y="30374"/>
                  </a:lnTo>
                  <a:lnTo>
                    <a:pt x="515085" y="29900"/>
                  </a:lnTo>
                  <a:lnTo>
                    <a:pt x="512247" y="28950"/>
                  </a:lnTo>
                  <a:lnTo>
                    <a:pt x="510359" y="27052"/>
                  </a:lnTo>
                  <a:lnTo>
                    <a:pt x="508472" y="25628"/>
                  </a:lnTo>
                  <a:lnTo>
                    <a:pt x="507528" y="23255"/>
                  </a:lnTo>
                  <a:lnTo>
                    <a:pt x="507528" y="14237"/>
                  </a:lnTo>
                  <a:lnTo>
                    <a:pt x="512247" y="9493"/>
                  </a:lnTo>
                  <a:lnTo>
                    <a:pt x="542400" y="9493"/>
                  </a:lnTo>
                  <a:lnTo>
                    <a:pt x="543412" y="8545"/>
                  </a:lnTo>
                  <a:lnTo>
                    <a:pt x="537271" y="2846"/>
                  </a:lnTo>
                  <a:lnTo>
                    <a:pt x="530664" y="474"/>
                  </a:lnTo>
                  <a:close/>
                </a:path>
                <a:path w="1301750" h="71754">
                  <a:moveTo>
                    <a:pt x="542400" y="9493"/>
                  </a:moveTo>
                  <a:lnTo>
                    <a:pt x="526883" y="9493"/>
                  </a:lnTo>
                  <a:lnTo>
                    <a:pt x="532080" y="10916"/>
                  </a:lnTo>
                  <a:lnTo>
                    <a:pt x="536327" y="15186"/>
                  </a:lnTo>
                  <a:lnTo>
                    <a:pt x="542400" y="9493"/>
                  </a:lnTo>
                  <a:close/>
                </a:path>
                <a:path w="1301750" h="71754">
                  <a:moveTo>
                    <a:pt x="436709" y="948"/>
                  </a:moveTo>
                  <a:lnTo>
                    <a:pt x="426327" y="948"/>
                  </a:lnTo>
                  <a:lnTo>
                    <a:pt x="426327" y="70717"/>
                  </a:lnTo>
                  <a:lnTo>
                    <a:pt x="437653" y="70717"/>
                  </a:lnTo>
                  <a:lnTo>
                    <a:pt x="437653" y="21357"/>
                  </a:lnTo>
                  <a:lnTo>
                    <a:pt x="450705" y="21357"/>
                  </a:lnTo>
                  <a:lnTo>
                    <a:pt x="436709" y="948"/>
                  </a:lnTo>
                  <a:close/>
                </a:path>
                <a:path w="1301750" h="71754">
                  <a:moveTo>
                    <a:pt x="450705" y="21357"/>
                  </a:moveTo>
                  <a:lnTo>
                    <a:pt x="437653" y="21357"/>
                  </a:lnTo>
                  <a:lnTo>
                    <a:pt x="471178" y="70717"/>
                  </a:lnTo>
                  <a:lnTo>
                    <a:pt x="481560" y="70717"/>
                  </a:lnTo>
                  <a:lnTo>
                    <a:pt x="481560" y="49834"/>
                  </a:lnTo>
                  <a:lnTo>
                    <a:pt x="470234" y="49834"/>
                  </a:lnTo>
                  <a:lnTo>
                    <a:pt x="450705" y="21357"/>
                  </a:lnTo>
                  <a:close/>
                </a:path>
                <a:path w="1301750" h="71754">
                  <a:moveTo>
                    <a:pt x="481560" y="948"/>
                  </a:moveTo>
                  <a:lnTo>
                    <a:pt x="470234" y="948"/>
                  </a:lnTo>
                  <a:lnTo>
                    <a:pt x="470234" y="49834"/>
                  </a:lnTo>
                  <a:lnTo>
                    <a:pt x="481560" y="49834"/>
                  </a:lnTo>
                  <a:lnTo>
                    <a:pt x="481560" y="948"/>
                  </a:lnTo>
                  <a:close/>
                </a:path>
                <a:path w="1301750" h="71754">
                  <a:moveTo>
                    <a:pt x="407438" y="948"/>
                  </a:moveTo>
                  <a:lnTo>
                    <a:pt x="396106" y="948"/>
                  </a:lnTo>
                  <a:lnTo>
                    <a:pt x="396106" y="70717"/>
                  </a:lnTo>
                  <a:lnTo>
                    <a:pt x="407438" y="70717"/>
                  </a:lnTo>
                  <a:lnTo>
                    <a:pt x="407438" y="948"/>
                  </a:lnTo>
                  <a:close/>
                </a:path>
                <a:path w="1301750" h="71754">
                  <a:moveTo>
                    <a:pt x="334260" y="948"/>
                  </a:moveTo>
                  <a:lnTo>
                    <a:pt x="325293" y="948"/>
                  </a:lnTo>
                  <a:lnTo>
                    <a:pt x="298853" y="70717"/>
                  </a:lnTo>
                  <a:lnTo>
                    <a:pt x="310179" y="70717"/>
                  </a:lnTo>
                  <a:lnTo>
                    <a:pt x="315377" y="56953"/>
                  </a:lnTo>
                  <a:lnTo>
                    <a:pt x="355483" y="56953"/>
                  </a:lnTo>
                  <a:lnTo>
                    <a:pt x="351886" y="47461"/>
                  </a:lnTo>
                  <a:lnTo>
                    <a:pt x="318680" y="47461"/>
                  </a:lnTo>
                  <a:lnTo>
                    <a:pt x="330012" y="16610"/>
                  </a:lnTo>
                  <a:lnTo>
                    <a:pt x="340195" y="16610"/>
                  </a:lnTo>
                  <a:lnTo>
                    <a:pt x="334260" y="948"/>
                  </a:lnTo>
                  <a:close/>
                </a:path>
                <a:path w="1301750" h="71754">
                  <a:moveTo>
                    <a:pt x="355483" y="56953"/>
                  </a:moveTo>
                  <a:lnTo>
                    <a:pt x="344176" y="56953"/>
                  </a:lnTo>
                  <a:lnTo>
                    <a:pt x="348895" y="70717"/>
                  </a:lnTo>
                  <a:lnTo>
                    <a:pt x="360699" y="70717"/>
                  </a:lnTo>
                  <a:lnTo>
                    <a:pt x="355483" y="56953"/>
                  </a:lnTo>
                  <a:close/>
                </a:path>
                <a:path w="1301750" h="71754">
                  <a:moveTo>
                    <a:pt x="340195" y="16610"/>
                  </a:moveTo>
                  <a:lnTo>
                    <a:pt x="330012" y="16610"/>
                  </a:lnTo>
                  <a:lnTo>
                    <a:pt x="340873" y="47461"/>
                  </a:lnTo>
                  <a:lnTo>
                    <a:pt x="351886" y="47461"/>
                  </a:lnTo>
                  <a:lnTo>
                    <a:pt x="340195" y="16610"/>
                  </a:lnTo>
                  <a:close/>
                </a:path>
                <a:path w="1301750" h="71754">
                  <a:moveTo>
                    <a:pt x="243142" y="948"/>
                  </a:moveTo>
                  <a:lnTo>
                    <a:pt x="233226" y="948"/>
                  </a:lnTo>
                  <a:lnTo>
                    <a:pt x="233226" y="70717"/>
                  </a:lnTo>
                  <a:lnTo>
                    <a:pt x="244086" y="70717"/>
                  </a:lnTo>
                  <a:lnTo>
                    <a:pt x="244086" y="21357"/>
                  </a:lnTo>
                  <a:lnTo>
                    <a:pt x="257135" y="21357"/>
                  </a:lnTo>
                  <a:lnTo>
                    <a:pt x="243142" y="948"/>
                  </a:lnTo>
                  <a:close/>
                </a:path>
                <a:path w="1301750" h="71754">
                  <a:moveTo>
                    <a:pt x="257135" y="21357"/>
                  </a:moveTo>
                  <a:lnTo>
                    <a:pt x="244086" y="21357"/>
                  </a:lnTo>
                  <a:lnTo>
                    <a:pt x="277605" y="70717"/>
                  </a:lnTo>
                  <a:lnTo>
                    <a:pt x="287993" y="70717"/>
                  </a:lnTo>
                  <a:lnTo>
                    <a:pt x="287993" y="49834"/>
                  </a:lnTo>
                  <a:lnTo>
                    <a:pt x="276661" y="49834"/>
                  </a:lnTo>
                  <a:lnTo>
                    <a:pt x="257135" y="21357"/>
                  </a:lnTo>
                  <a:close/>
                </a:path>
                <a:path w="1301750" h="71754">
                  <a:moveTo>
                    <a:pt x="287993" y="948"/>
                  </a:moveTo>
                  <a:lnTo>
                    <a:pt x="276661" y="948"/>
                  </a:lnTo>
                  <a:lnTo>
                    <a:pt x="276661" y="49834"/>
                  </a:lnTo>
                  <a:lnTo>
                    <a:pt x="287993" y="49834"/>
                  </a:lnTo>
                  <a:lnTo>
                    <a:pt x="287993" y="948"/>
                  </a:lnTo>
                  <a:close/>
                </a:path>
                <a:path w="1301750" h="71754">
                  <a:moveTo>
                    <a:pt x="169020" y="948"/>
                  </a:moveTo>
                  <a:lnTo>
                    <a:pt x="159104" y="948"/>
                  </a:lnTo>
                  <a:lnTo>
                    <a:pt x="159104" y="70717"/>
                  </a:lnTo>
                  <a:lnTo>
                    <a:pt x="169964" y="70717"/>
                  </a:lnTo>
                  <a:lnTo>
                    <a:pt x="169964" y="21357"/>
                  </a:lnTo>
                  <a:lnTo>
                    <a:pt x="183013" y="21357"/>
                  </a:lnTo>
                  <a:lnTo>
                    <a:pt x="169020" y="948"/>
                  </a:lnTo>
                  <a:close/>
                </a:path>
                <a:path w="1301750" h="71754">
                  <a:moveTo>
                    <a:pt x="183013" y="21357"/>
                  </a:moveTo>
                  <a:lnTo>
                    <a:pt x="169964" y="21357"/>
                  </a:lnTo>
                  <a:lnTo>
                    <a:pt x="203483" y="70717"/>
                  </a:lnTo>
                  <a:lnTo>
                    <a:pt x="213871" y="70717"/>
                  </a:lnTo>
                  <a:lnTo>
                    <a:pt x="213871" y="49834"/>
                  </a:lnTo>
                  <a:lnTo>
                    <a:pt x="202539" y="49834"/>
                  </a:lnTo>
                  <a:lnTo>
                    <a:pt x="183013" y="21357"/>
                  </a:lnTo>
                  <a:close/>
                </a:path>
                <a:path w="1301750" h="71754">
                  <a:moveTo>
                    <a:pt x="213871" y="948"/>
                  </a:moveTo>
                  <a:lnTo>
                    <a:pt x="202539" y="948"/>
                  </a:lnTo>
                  <a:lnTo>
                    <a:pt x="202539" y="49834"/>
                  </a:lnTo>
                  <a:lnTo>
                    <a:pt x="213871" y="49834"/>
                  </a:lnTo>
                  <a:lnTo>
                    <a:pt x="213871" y="948"/>
                  </a:lnTo>
                  <a:close/>
                </a:path>
                <a:path w="1301750" h="71754">
                  <a:moveTo>
                    <a:pt x="143524" y="948"/>
                  </a:moveTo>
                  <a:lnTo>
                    <a:pt x="97258" y="948"/>
                  </a:lnTo>
                  <a:lnTo>
                    <a:pt x="97258" y="70717"/>
                  </a:lnTo>
                  <a:lnTo>
                    <a:pt x="143524" y="70717"/>
                  </a:lnTo>
                  <a:lnTo>
                    <a:pt x="143524" y="61225"/>
                  </a:lnTo>
                  <a:lnTo>
                    <a:pt x="108112" y="61225"/>
                  </a:lnTo>
                  <a:lnTo>
                    <a:pt x="108112" y="39867"/>
                  </a:lnTo>
                  <a:lnTo>
                    <a:pt x="138333" y="39867"/>
                  </a:lnTo>
                  <a:lnTo>
                    <a:pt x="138333" y="30849"/>
                  </a:lnTo>
                  <a:lnTo>
                    <a:pt x="108112" y="30849"/>
                  </a:lnTo>
                  <a:lnTo>
                    <a:pt x="108112" y="10442"/>
                  </a:lnTo>
                  <a:lnTo>
                    <a:pt x="143524" y="10442"/>
                  </a:lnTo>
                  <a:lnTo>
                    <a:pt x="143524" y="948"/>
                  </a:lnTo>
                  <a:close/>
                </a:path>
                <a:path w="1301750" h="71754">
                  <a:moveTo>
                    <a:pt x="77897" y="948"/>
                  </a:moveTo>
                  <a:lnTo>
                    <a:pt x="66571" y="948"/>
                  </a:lnTo>
                  <a:lnTo>
                    <a:pt x="66571" y="70717"/>
                  </a:lnTo>
                  <a:lnTo>
                    <a:pt x="77897" y="70717"/>
                  </a:lnTo>
                  <a:lnTo>
                    <a:pt x="77897" y="948"/>
                  </a:lnTo>
                  <a:close/>
                </a:path>
                <a:path w="1301750" h="71754">
                  <a:moveTo>
                    <a:pt x="11330" y="948"/>
                  </a:moveTo>
                  <a:lnTo>
                    <a:pt x="0" y="948"/>
                  </a:lnTo>
                  <a:lnTo>
                    <a:pt x="23605" y="70717"/>
                  </a:lnTo>
                  <a:lnTo>
                    <a:pt x="32104" y="70717"/>
                  </a:lnTo>
                  <a:lnTo>
                    <a:pt x="38656" y="51732"/>
                  </a:lnTo>
                  <a:lnTo>
                    <a:pt x="27854" y="51732"/>
                  </a:lnTo>
                  <a:lnTo>
                    <a:pt x="11330" y="948"/>
                  </a:lnTo>
                  <a:close/>
                </a:path>
                <a:path w="1301750" h="71754">
                  <a:moveTo>
                    <a:pt x="56182" y="948"/>
                  </a:moveTo>
                  <a:lnTo>
                    <a:pt x="44851" y="948"/>
                  </a:lnTo>
                  <a:lnTo>
                    <a:pt x="27854" y="51732"/>
                  </a:lnTo>
                  <a:lnTo>
                    <a:pt x="38656" y="51732"/>
                  </a:lnTo>
                  <a:lnTo>
                    <a:pt x="56182" y="948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0" name="object 30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>
              <a:lnSpc>
                <a:spcPts val="1240"/>
              </a:lnSpc>
            </a:pPr>
            <a:fld id="{81D60167-4931-47E6-BA6A-407CBD079E47}" type="slidenum">
              <a:rPr dirty="0"/>
              <a:t>9</a:t>
            </a:fld>
            <a:endParaRPr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7E7E7E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5</TotalTime>
  <Words>3427</Words>
  <Application>Microsoft Office PowerPoint</Application>
  <PresentationFormat>Widescreen</PresentationFormat>
  <Paragraphs>260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2" baseType="lpstr">
      <vt:lpstr>Arial</vt:lpstr>
      <vt:lpstr>Arial MT</vt:lpstr>
      <vt:lpstr>Calibri</vt:lpstr>
      <vt:lpstr>Ebrima</vt:lpstr>
      <vt:lpstr>Times New Roman</vt:lpstr>
      <vt:lpstr>Office Theme</vt:lpstr>
      <vt:lpstr>think-cell Slide</vt:lpstr>
      <vt:lpstr>PowerPoint Presentation</vt:lpstr>
      <vt:lpstr>PowerPoint Presentation</vt:lpstr>
      <vt:lpstr>PËRMBAJTJA</vt:lpstr>
      <vt:lpstr>Struktura e Intersig VIG</vt:lpstr>
      <vt:lpstr>Organizimi i Intersig VIG</vt:lpstr>
      <vt:lpstr>Historiku i Intersig VIG</vt:lpstr>
      <vt:lpstr>PowerPoint Presentation</vt:lpstr>
      <vt:lpstr>Garanci për çdo risk</vt:lpstr>
      <vt:lpstr>Intersig VIG në Shqipëri</vt:lpstr>
      <vt:lpstr>Vizioni dhe Misioni i Intersig VIG</vt:lpstr>
      <vt:lpstr>PowerPoint Presentation</vt:lpstr>
      <vt:lpstr>PowerPoint Presentation</vt:lpstr>
      <vt:lpstr>Tregu i Sigurimeve në Shqipëri - 2022</vt:lpstr>
      <vt:lpstr>Intersig Vienna Insurance Group në Tregun Shqiptar</vt:lpstr>
      <vt:lpstr>Tregues për vitin 2022</vt:lpstr>
      <vt:lpstr>Procesi i Vlerësimit të Riskut</vt:lpstr>
      <vt:lpstr>Vlerësimi dhe Menaxhimi i Riskut</vt:lpstr>
      <vt:lpstr>Vlerësimi dhe Menaxhimi i Riskut</vt:lpstr>
      <vt:lpstr>Përmbledhje e aktivitetit të Audituesit të Brendshëm</vt:lpstr>
      <vt:lpstr>Përmbledhje e aktivitetit të Audituesit të Brendshëm</vt:lpstr>
      <vt:lpstr>Përmbledhje e aktivitetit të Audituesit të Brendshëm</vt:lpstr>
      <vt:lpstr>Përmbledhje e aktivitetit të Audituesit të Brendshëm</vt:lpstr>
      <vt:lpstr>Përmbledhje e aktivitetit të Audituesit të Brendshëm</vt:lpstr>
      <vt:lpstr>Përmbledhje e aktivitetit të Audituesit të Brendshëm</vt:lpstr>
      <vt:lpstr>Përmbledhje e aktivitetit të Audituesit të Brendshëm</vt:lpstr>
      <vt:lpstr>Përmbledhje e aktivitetit të Audituesit të Brendshëm</vt:lpstr>
      <vt:lpstr>Përmbledhje e aktivitetit të Audituesit të Brendshëm</vt:lpstr>
      <vt:lpstr>Opinioni i shkurtuar i Auditit te Brendshem per vitin 2022 </vt:lpstr>
      <vt:lpstr>Opinioni i Shoqërisë Audituese</vt:lpstr>
      <vt:lpstr>PowerPoint Presentation</vt:lpstr>
      <vt:lpstr>Pasqyrat Financiare</vt:lpstr>
      <vt:lpstr>PowerPoint Presentation</vt:lpstr>
      <vt:lpstr>PowerPoint Presentation</vt:lpstr>
      <vt:lpstr>Objektivat 2023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kola Andoni</dc:creator>
  <cp:lastModifiedBy>Greta Cici</cp:lastModifiedBy>
  <cp:revision>26</cp:revision>
  <dcterms:created xsi:type="dcterms:W3CDTF">2023-06-16T12:34:35Z</dcterms:created>
  <dcterms:modified xsi:type="dcterms:W3CDTF">2023-06-30T14:37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6-30T00:00:00Z</vt:filetime>
  </property>
  <property fmtid="{D5CDD505-2E9C-101B-9397-08002B2CF9AE}" pid="3" name="Creator">
    <vt:lpwstr>Microsoft® PowerPoint® 2016</vt:lpwstr>
  </property>
  <property fmtid="{D5CDD505-2E9C-101B-9397-08002B2CF9AE}" pid="4" name="LastSaved">
    <vt:filetime>2023-06-16T00:00:00Z</vt:filetime>
  </property>
</Properties>
</file>